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748" r:id="rId2"/>
    <p:sldMasterId id="2147483757" r:id="rId3"/>
    <p:sldMasterId id="2147483766" r:id="rId4"/>
    <p:sldMasterId id="2147483782" r:id="rId5"/>
    <p:sldMasterId id="2147483795" r:id="rId6"/>
  </p:sldMasterIdLst>
  <p:notesMasterIdLst>
    <p:notesMasterId r:id="rId22"/>
  </p:notesMasterIdLst>
  <p:handoutMasterIdLst>
    <p:handoutMasterId r:id="rId23"/>
  </p:handoutMasterIdLst>
  <p:sldIdLst>
    <p:sldId id="3281" r:id="rId7"/>
    <p:sldId id="257" r:id="rId8"/>
    <p:sldId id="3272" r:id="rId9"/>
    <p:sldId id="3285" r:id="rId10"/>
    <p:sldId id="3271" r:id="rId11"/>
    <p:sldId id="2552" r:id="rId12"/>
    <p:sldId id="3276" r:id="rId13"/>
    <p:sldId id="3282" r:id="rId14"/>
    <p:sldId id="3287" r:id="rId15"/>
    <p:sldId id="3289" r:id="rId16"/>
    <p:sldId id="3290" r:id="rId17"/>
    <p:sldId id="2851" r:id="rId18"/>
    <p:sldId id="2852" r:id="rId19"/>
    <p:sldId id="3274" r:id="rId20"/>
    <p:sldId id="269" r:id="rId21"/>
  </p:sldIdLst>
  <p:sldSz cx="9144000" cy="5143500" type="screen16x9"/>
  <p:notesSz cx="6858000" cy="9144000"/>
  <p:defaultTextStyle>
    <a:defPPr>
      <a:defRPr lang="lt-L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180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5705" autoAdjust="0"/>
    <p:restoredTop sz="78495" autoAdjust="0"/>
  </p:normalViewPr>
  <p:slideViewPr>
    <p:cSldViewPr>
      <p:cViewPr varScale="1">
        <p:scale>
          <a:sx n="84" d="100"/>
          <a:sy n="84" d="100"/>
        </p:scale>
        <p:origin x="324" y="6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89" d="100"/>
          <a:sy n="89" d="100"/>
        </p:scale>
        <p:origin x="-3846" y="-1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9692B9F-A9C6-4F8E-A063-280447F2DA3D}" type="datetimeFigureOut">
              <a:rPr lang="lt-LT" smtClean="0"/>
              <a:pPr/>
              <a:t>2023-07-18</a:t>
            </a:fld>
            <a:endParaRPr lang="lt-L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5CB8DB-38B0-4AB7-8FC9-6A076EA5D0BF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559318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9D55491-1D4E-4CAF-80C4-2C036C20C16B}" type="datetimeFigureOut">
              <a:rPr lang="lt-LT" smtClean="0"/>
              <a:pPr/>
              <a:t>2023-07-18</a:t>
            </a:fld>
            <a:endParaRPr lang="lt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E287C4-7536-4774-B9D2-5A1D7C0D5EA6}" type="slidenum">
              <a:rPr lang="lt-LT" smtClean="0"/>
              <a:pPr/>
              <a:t>‹#›</a:t>
            </a:fld>
            <a:endParaRPr lang="lt-L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32D0C-E16A-47D3-9888-F9478D37EADF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9353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32D0C-E16A-47D3-9888-F9478D37EADF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8247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02A053-9E28-4D4C-B446-3C2814735BD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4052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lt-L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732D0C-E16A-47D3-9888-F9478D37EADF}" type="slidenum">
              <a:rPr kumimoji="0" lang="en-I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I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846622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3D5EC5-A483-4062-96A7-4ECF2A11A1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9443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image" Target="../media/image5.png"/><Relationship Id="rId7" Type="http://schemas.openxmlformats.org/officeDocument/2006/relationships/image" Target="../media/image8.png"/><Relationship Id="rId2" Type="http://schemas.openxmlformats.org/officeDocument/2006/relationships/hyperlink" Target="https://www.facebook.com/MykoloRomerioUniversitetas/" TargetMode="External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emf"/><Relationship Id="rId5" Type="http://schemas.openxmlformats.org/officeDocument/2006/relationships/image" Target="../media/image6.png"/><Relationship Id="rId4" Type="http://schemas.openxmlformats.org/officeDocument/2006/relationships/hyperlink" Target="https://www.linkedin.com/school/mykolasromerisuniversity/" TargetMode="Externa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png"/><Relationship Id="rId4" Type="http://schemas.openxmlformats.org/officeDocument/2006/relationships/image" Target="../media/image12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14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4" Type="http://schemas.openxmlformats.org/officeDocument/2006/relationships/image" Target="../media/image14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.xml"/><Relationship Id="rId4" Type="http://schemas.openxmlformats.org/officeDocument/2006/relationships/image" Target="../media/image14.emf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.xml"/><Relationship Id="rId4" Type="http://schemas.openxmlformats.org/officeDocument/2006/relationships/image" Target="../media/image14.emf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A60DFC-F2B1-4506-81A5-F9E0D399E8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1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FF502-5866-4F41-BDDC-B776A3EA85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1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D3DC29-3564-400B-9056-02B4A6D7B7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49251A-8DE0-4963-84D8-A888216F2C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C33277-5085-494F-9985-16A2284633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564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898A8C-340F-43D6-B7BC-4595835A1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496CC7-3F41-46DA-ABB3-41ADE5C9D75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D11B2B-D7B9-4D6F-A488-38FCD71C74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755988C-93B8-4F4C-8FCA-F05B165223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B8FE3C-F671-4927-9642-A09FC292D1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073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F1E8D0E-CE12-469E-8F27-F0AD31D2447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F6AA89-50A1-478A-9DBA-15D3FC0A76D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9A184C-3EA8-4FF0-8D49-E0529F1A9E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2FB243-C75E-4380-A48F-69FDEA492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BF45AF-618C-4119-AD27-A77B8A3B75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8297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2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45699" tIns="22849" rIns="45699" bIns="22849">
            <a:noAutofit/>
          </a:bodyPr>
          <a:lstStyle>
            <a:lvl1pPr>
              <a:defRPr sz="300"/>
            </a:lvl1pPr>
          </a:lstStyle>
          <a:p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68594" y="1545756"/>
            <a:ext cx="3206818" cy="890996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ctr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bg1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GRAPHIC</a:t>
            </a:r>
            <a:br>
              <a:rPr lang="en-US" dirty="0"/>
            </a:br>
            <a:r>
              <a:rPr lang="en-US" dirty="0"/>
              <a:t>SLIDE</a:t>
            </a:r>
            <a:endParaRPr lang="ru-RU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66794" y="2804395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6794" y="3026598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434406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1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1642585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xmlns:p14="http://schemas.microsoft.com/office/powerpoint/2010/main"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3348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12475" y="481563"/>
            <a:ext cx="8319051" cy="423862"/>
          </a:xfrm>
          <a:prstGeom prst="rect">
            <a:avLst/>
          </a:prstGeom>
        </p:spPr>
        <p:txBody>
          <a:bodyPr vert="horz" lIns="137132" tIns="68567" rIns="137132" bIns="68567" rtlCol="0" anchor="ctr">
            <a:noAutofit/>
          </a:bodyPr>
          <a:lstStyle>
            <a:lvl1pPr algn="ctr">
              <a:defRPr sz="2700" b="0" baseline="0">
                <a:solidFill>
                  <a:schemeClr val="tx2"/>
                </a:solidFill>
                <a:latin typeface="Century Gothic"/>
                <a:ea typeface="Roboto Thin" pitchFamily="2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287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64">
          <p15:clr>
            <a:srgbClr val="FBAE40"/>
          </p15:clr>
        </p15:guide>
        <p15:guide id="3" pos="741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07EF53BB-461D-2EB1-AE89-AE749302B1A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0330" y="312368"/>
            <a:ext cx="3670651" cy="944932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625" kern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lt-LT" dirty="0"/>
              <a:t>Skaidrės pavadinimas per vieną / dvi eilutes</a:t>
            </a:r>
            <a:endParaRPr lang="en-LT" dirty="0"/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04A36779-5465-1A7A-2934-CA632F9046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330" y="1716785"/>
            <a:ext cx="2047591" cy="645416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ts val="12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050" b="0" i="0" spc="15" baseline="0" smtClean="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 err="1"/>
              <a:t>Jei</a:t>
            </a:r>
            <a:r>
              <a:rPr lang="en-US" dirty="0"/>
              <a:t> </a:t>
            </a:r>
            <a:r>
              <a:rPr lang="en-US" dirty="0" err="1"/>
              <a:t>reikalinga</a:t>
            </a:r>
            <a:r>
              <a:rPr lang="en-US" dirty="0"/>
              <a:t> </a:t>
            </a:r>
            <a:r>
              <a:rPr lang="en-US" dirty="0" err="1"/>
              <a:t>rašome</a:t>
            </a:r>
            <a:r>
              <a:rPr lang="en-US" dirty="0"/>
              <a:t> </a:t>
            </a:r>
            <a:r>
              <a:rPr lang="en-US" dirty="0" err="1"/>
              <a:t>paantraštę</a:t>
            </a:r>
            <a:r>
              <a:rPr lang="en-US" dirty="0"/>
              <a:t>.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</a:t>
            </a:r>
            <a:r>
              <a:rPr lang="en-US" dirty="0"/>
              <a:t> </a:t>
            </a:r>
            <a:r>
              <a:rPr lang="en-US" dirty="0" err="1"/>
              <a:t>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.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81241BC-3F6F-FC9F-37AE-F5BAFC2E682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71070" y="1754886"/>
            <a:ext cx="2047591" cy="157735"/>
          </a:xfrm>
          <a:noFill/>
          <a:ln>
            <a:noFill/>
            <a:prstDash val="solid"/>
          </a:ln>
        </p:spPr>
        <p:txBody>
          <a:bodyPr>
            <a:normAutofit/>
          </a:bodyPr>
          <a:lstStyle>
            <a:lvl1pPr marL="0" indent="0">
              <a:buNone/>
              <a:defRPr sz="675" b="1"/>
            </a:lvl1pPr>
          </a:lstStyle>
          <a:p>
            <a:pPr lvl="0"/>
            <a:r>
              <a:rPr lang="en-LT" dirty="0"/>
              <a:t>Papildomas tekstas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988A93A6-54C6-D1F7-E6F1-00ED80BCF17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4190" y="1754886"/>
            <a:ext cx="2047591" cy="157735"/>
          </a:xfrm>
          <a:noFill/>
          <a:ln>
            <a:noFill/>
            <a:prstDash val="solid"/>
          </a:ln>
        </p:spPr>
        <p:txBody>
          <a:bodyPr>
            <a:normAutofit/>
          </a:bodyPr>
          <a:lstStyle>
            <a:lvl1pPr marL="0" indent="0">
              <a:buNone/>
              <a:defRPr sz="675" b="1"/>
            </a:lvl1pPr>
          </a:lstStyle>
          <a:p>
            <a:pPr lvl="0"/>
            <a:r>
              <a:rPr lang="en-LT" dirty="0"/>
              <a:t>Papildomas tekstas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484B188D-FB2E-3970-B7B4-44BFB1E3CB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684930" y="1754886"/>
            <a:ext cx="2047591" cy="157735"/>
          </a:xfrm>
          <a:noFill/>
          <a:ln>
            <a:noFill/>
            <a:prstDash val="solid"/>
          </a:ln>
        </p:spPr>
        <p:txBody>
          <a:bodyPr>
            <a:normAutofit/>
          </a:bodyPr>
          <a:lstStyle>
            <a:lvl1pPr marL="0" indent="0">
              <a:buNone/>
              <a:defRPr sz="675" b="1"/>
            </a:lvl1pPr>
          </a:lstStyle>
          <a:p>
            <a:pPr lvl="0"/>
            <a:r>
              <a:rPr lang="en-LT" dirty="0"/>
              <a:t>Papildomas teksta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F3EF6A8-2BFA-DE13-1A37-BF27913BD6A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471070" y="2093976"/>
            <a:ext cx="2047591" cy="534924"/>
          </a:xfrm>
        </p:spPr>
        <p:txBody>
          <a:bodyPr>
            <a:noAutofit/>
          </a:bodyPr>
          <a:lstStyle>
            <a:lvl1pPr marL="0" indent="0">
              <a:lnSpc>
                <a:spcPts val="1725"/>
              </a:lnSpc>
              <a:spcBef>
                <a:spcPts val="0"/>
              </a:spcBef>
              <a:buNone/>
              <a:defRPr sz="1500" kern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Logotipas</a:t>
            </a:r>
            <a:r>
              <a:rPr lang="en-US" dirty="0"/>
              <a:t> / </a:t>
            </a:r>
            <a:r>
              <a:rPr lang="en-US" dirty="0" err="1"/>
              <a:t>pavadinimas</a:t>
            </a:r>
            <a:endParaRPr lang="en-LT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C61B427-BE26-B90A-E5A2-955D7710A4C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1810" y="2093976"/>
            <a:ext cx="2047591" cy="534924"/>
          </a:xfrm>
        </p:spPr>
        <p:txBody>
          <a:bodyPr>
            <a:noAutofit/>
          </a:bodyPr>
          <a:lstStyle>
            <a:lvl1pPr marL="0" indent="0">
              <a:lnSpc>
                <a:spcPts val="1725"/>
              </a:lnSpc>
              <a:spcBef>
                <a:spcPts val="0"/>
              </a:spcBef>
              <a:buNone/>
              <a:defRPr sz="1500" kern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Logotipas</a:t>
            </a:r>
            <a:r>
              <a:rPr lang="en-US" dirty="0"/>
              <a:t> / </a:t>
            </a:r>
            <a:r>
              <a:rPr lang="en-US" dirty="0" err="1"/>
              <a:t>pavadinimas</a:t>
            </a:r>
            <a:endParaRPr lang="en-LT" dirty="0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C976228-96A0-4D15-2793-727B331A5AC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84930" y="2093976"/>
            <a:ext cx="2047591" cy="534924"/>
          </a:xfrm>
        </p:spPr>
        <p:txBody>
          <a:bodyPr>
            <a:noAutofit/>
          </a:bodyPr>
          <a:lstStyle>
            <a:lvl1pPr marL="0" indent="0">
              <a:lnSpc>
                <a:spcPts val="1725"/>
              </a:lnSpc>
              <a:spcBef>
                <a:spcPts val="0"/>
              </a:spcBef>
              <a:buNone/>
              <a:defRPr sz="1500" kern="1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err="1"/>
              <a:t>Logotipas</a:t>
            </a:r>
            <a:r>
              <a:rPr lang="en-US" dirty="0"/>
              <a:t> / </a:t>
            </a:r>
            <a:r>
              <a:rPr lang="en-US" dirty="0" err="1"/>
              <a:t>pavadinimas</a:t>
            </a:r>
            <a:endParaRPr lang="en-LT" dirty="0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45F1ADC-DC3F-5B61-2B9A-B7CF5072D0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71069" y="2895600"/>
            <a:ext cx="2047591" cy="1470660"/>
          </a:xfrm>
        </p:spPr>
        <p:txBody>
          <a:bodyPr>
            <a:normAutofit/>
          </a:bodyPr>
          <a:lstStyle>
            <a:lvl1pPr marL="0" indent="0">
              <a:lnSpc>
                <a:spcPts val="990"/>
              </a:lnSpc>
              <a:spcBef>
                <a:spcPts val="0"/>
              </a:spcBef>
              <a:buNone/>
              <a:defRPr sz="825"/>
            </a:lvl1pPr>
          </a:lstStyle>
          <a:p>
            <a:pPr lvl="0"/>
            <a:r>
              <a:rPr lang="lt-LT" dirty="0"/>
              <a:t>Dėstymo tekstas. </a:t>
            </a:r>
            <a:r>
              <a:rPr lang="lt-LT" dirty="0" err="1"/>
              <a:t>Lorem</a:t>
            </a:r>
            <a:r>
              <a:rPr lang="lt-LT" dirty="0"/>
              <a:t> </a:t>
            </a:r>
            <a:r>
              <a:rPr lang="lt-LT" dirty="0" err="1"/>
              <a:t>ipsum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sit</a:t>
            </a:r>
            <a:r>
              <a:rPr lang="lt-LT" dirty="0"/>
              <a:t> </a:t>
            </a:r>
            <a:r>
              <a:rPr lang="lt-LT" dirty="0" err="1"/>
              <a:t>amet</a:t>
            </a:r>
            <a:r>
              <a:rPr lang="lt-LT" dirty="0"/>
              <a:t>, </a:t>
            </a:r>
            <a:r>
              <a:rPr lang="lt-LT" dirty="0" err="1"/>
              <a:t>consectetuer</a:t>
            </a:r>
            <a:r>
              <a:rPr lang="lt-LT" dirty="0"/>
              <a:t> </a:t>
            </a:r>
            <a:r>
              <a:rPr lang="lt-LT" dirty="0" err="1"/>
              <a:t>adipiscing</a:t>
            </a:r>
            <a:r>
              <a:rPr lang="lt-LT" dirty="0"/>
              <a:t> </a:t>
            </a:r>
            <a:r>
              <a:rPr lang="lt-LT" dirty="0" err="1"/>
              <a:t>elit</a:t>
            </a:r>
            <a:r>
              <a:rPr lang="lt-LT" dirty="0"/>
              <a:t>, </a:t>
            </a:r>
            <a:r>
              <a:rPr lang="lt-LT" dirty="0" err="1"/>
              <a:t>sed</a:t>
            </a:r>
            <a:r>
              <a:rPr lang="lt-LT" dirty="0"/>
              <a:t> </a:t>
            </a:r>
            <a:r>
              <a:rPr lang="lt-LT" dirty="0" err="1"/>
              <a:t>diam</a:t>
            </a:r>
            <a:r>
              <a:rPr lang="lt-LT" dirty="0"/>
              <a:t> </a:t>
            </a:r>
            <a:r>
              <a:rPr lang="lt-LT" dirty="0" err="1"/>
              <a:t>nonummy</a:t>
            </a:r>
            <a:r>
              <a:rPr lang="lt-LT" dirty="0"/>
              <a:t> </a:t>
            </a:r>
            <a:r>
              <a:rPr lang="lt-LT" dirty="0" err="1"/>
              <a:t>nibh</a:t>
            </a:r>
            <a:r>
              <a:rPr lang="lt-LT" dirty="0"/>
              <a:t> </a:t>
            </a:r>
            <a:r>
              <a:rPr lang="lt-LT" dirty="0" err="1"/>
              <a:t>euismod</a:t>
            </a:r>
            <a:r>
              <a:rPr lang="lt-LT" dirty="0"/>
              <a:t> </a:t>
            </a:r>
            <a:r>
              <a:rPr lang="lt-LT" dirty="0" err="1"/>
              <a:t>tincidunt</a:t>
            </a:r>
            <a:r>
              <a:rPr lang="lt-LT" dirty="0"/>
              <a:t> </a:t>
            </a:r>
            <a:r>
              <a:rPr lang="lt-LT" dirty="0" err="1"/>
              <a:t>ut</a:t>
            </a:r>
            <a:r>
              <a:rPr lang="lt-LT" dirty="0"/>
              <a:t> </a:t>
            </a:r>
            <a:r>
              <a:rPr lang="lt-LT" dirty="0" err="1"/>
              <a:t>laoreet</a:t>
            </a:r>
            <a:r>
              <a:rPr lang="lt-LT" dirty="0"/>
              <a:t> </a:t>
            </a:r>
            <a:r>
              <a:rPr lang="lt-LT" dirty="0" err="1"/>
              <a:t>dolore</a:t>
            </a:r>
            <a:r>
              <a:rPr lang="lt-LT" dirty="0"/>
              <a:t> </a:t>
            </a:r>
            <a:r>
              <a:rPr lang="lt-LT" dirty="0" err="1"/>
              <a:t>magna</a:t>
            </a:r>
            <a:r>
              <a:rPr lang="lt-LT" dirty="0"/>
              <a:t>. Duis </a:t>
            </a:r>
            <a:r>
              <a:rPr lang="lt-LT" dirty="0" err="1"/>
              <a:t>autem</a:t>
            </a:r>
            <a:r>
              <a:rPr lang="lt-LT" dirty="0"/>
              <a:t> </a:t>
            </a:r>
            <a:r>
              <a:rPr lang="lt-LT" dirty="0" err="1"/>
              <a:t>vel</a:t>
            </a:r>
            <a:r>
              <a:rPr lang="lt-LT" dirty="0"/>
              <a:t> </a:t>
            </a:r>
            <a:r>
              <a:rPr lang="lt-LT" dirty="0" err="1"/>
              <a:t>eum</a:t>
            </a:r>
            <a:r>
              <a:rPr lang="lt-LT" dirty="0"/>
              <a:t> </a:t>
            </a:r>
            <a:r>
              <a:rPr lang="lt-LT" dirty="0" err="1"/>
              <a:t>iriure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in</a:t>
            </a:r>
            <a:r>
              <a:rPr lang="lt-LT" dirty="0"/>
              <a:t> </a:t>
            </a:r>
            <a:r>
              <a:rPr lang="lt-LT" dirty="0" err="1"/>
              <a:t>hendrerit</a:t>
            </a:r>
            <a:r>
              <a:rPr lang="lt-LT" dirty="0"/>
              <a:t> </a:t>
            </a:r>
            <a:r>
              <a:rPr lang="lt-LT" dirty="0" err="1"/>
              <a:t>in</a:t>
            </a:r>
            <a:r>
              <a:rPr lang="lt-LT" dirty="0"/>
              <a:t> </a:t>
            </a:r>
            <a:r>
              <a:rPr lang="lt-LT" dirty="0" err="1"/>
              <a:t>vulputate</a:t>
            </a:r>
            <a:r>
              <a:rPr lang="lt-LT" dirty="0"/>
              <a:t> </a:t>
            </a:r>
            <a:r>
              <a:rPr lang="lt-LT" dirty="0" err="1"/>
              <a:t>velit</a:t>
            </a:r>
            <a:r>
              <a:rPr lang="lt-LT" dirty="0"/>
              <a:t> </a:t>
            </a:r>
            <a:r>
              <a:rPr lang="lt-LT" dirty="0" err="1"/>
              <a:t>esse</a:t>
            </a:r>
            <a:r>
              <a:rPr lang="lt-LT" dirty="0"/>
              <a:t> </a:t>
            </a:r>
            <a:r>
              <a:rPr lang="lt-LT" dirty="0" err="1"/>
              <a:t>molestie</a:t>
            </a:r>
            <a:r>
              <a:rPr lang="lt-LT" dirty="0"/>
              <a:t> </a:t>
            </a:r>
            <a:r>
              <a:rPr lang="lt-LT" dirty="0" err="1"/>
              <a:t>consequat</a:t>
            </a:r>
            <a:r>
              <a:rPr lang="lt-LT" dirty="0"/>
              <a:t>, </a:t>
            </a:r>
            <a:r>
              <a:rPr lang="lt-LT" dirty="0" err="1"/>
              <a:t>vel</a:t>
            </a:r>
            <a:r>
              <a:rPr lang="lt-LT" dirty="0"/>
              <a:t> </a:t>
            </a:r>
            <a:r>
              <a:rPr lang="lt-LT" dirty="0" err="1"/>
              <a:t>illum</a:t>
            </a:r>
            <a:r>
              <a:rPr lang="lt-LT" dirty="0"/>
              <a:t> </a:t>
            </a:r>
            <a:r>
              <a:rPr lang="lt-LT" dirty="0" err="1"/>
              <a:t>dolore</a:t>
            </a:r>
            <a:r>
              <a:rPr lang="lt-LT" dirty="0"/>
              <a:t> </a:t>
            </a:r>
            <a:r>
              <a:rPr lang="lt-LT" dirty="0" err="1"/>
              <a:t>eu</a:t>
            </a:r>
            <a:r>
              <a:rPr lang="lt-LT" dirty="0"/>
              <a:t> </a:t>
            </a:r>
            <a:r>
              <a:rPr lang="lt-LT" dirty="0" err="1"/>
              <a:t>feugiat</a:t>
            </a:r>
            <a:r>
              <a:rPr lang="lt-LT" dirty="0"/>
              <a:t> </a:t>
            </a:r>
            <a:r>
              <a:rPr lang="lt-LT" dirty="0" err="1"/>
              <a:t>nulla</a:t>
            </a:r>
            <a:r>
              <a:rPr lang="lt-LT" dirty="0"/>
              <a:t> </a:t>
            </a:r>
            <a:r>
              <a:rPr lang="lt-LT" dirty="0" err="1"/>
              <a:t>facilisis</a:t>
            </a:r>
            <a:r>
              <a:rPr lang="lt-LT" dirty="0"/>
              <a:t> at </a:t>
            </a:r>
            <a:r>
              <a:rPr lang="lt-LT" dirty="0" err="1"/>
              <a:t>vero</a:t>
            </a:r>
            <a:r>
              <a:rPr lang="lt-LT" dirty="0"/>
              <a:t> eros et </a:t>
            </a:r>
            <a:r>
              <a:rPr lang="lt-LT" dirty="0" err="1"/>
              <a:t>accumsan</a:t>
            </a:r>
            <a:r>
              <a:rPr lang="lt-LT" dirty="0"/>
              <a:t>.</a:t>
            </a:r>
            <a:endParaRPr lang="en-LT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DCA92543-D86E-E8FD-5BA9-47DA8D4F1F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625343" y="2895600"/>
            <a:ext cx="2004058" cy="426720"/>
          </a:xfrm>
        </p:spPr>
        <p:txBody>
          <a:bodyPr>
            <a:normAutofit/>
          </a:bodyPr>
          <a:lstStyle>
            <a:lvl1pPr marL="0" indent="0">
              <a:lnSpc>
                <a:spcPts val="990"/>
              </a:lnSpc>
              <a:spcBef>
                <a:spcPts val="0"/>
              </a:spcBef>
              <a:buNone/>
              <a:defRPr sz="825"/>
            </a:lvl1pPr>
          </a:lstStyle>
          <a:p>
            <a:pPr lvl="0"/>
            <a:r>
              <a:rPr lang="lt-LT" dirty="0"/>
              <a:t>Dėstymo tekstas. </a:t>
            </a:r>
            <a:r>
              <a:rPr lang="lt-LT" dirty="0" err="1"/>
              <a:t>Lorem</a:t>
            </a:r>
            <a:r>
              <a:rPr lang="lt-LT" dirty="0"/>
              <a:t> </a:t>
            </a:r>
            <a:r>
              <a:rPr lang="lt-LT" dirty="0" err="1"/>
              <a:t>ipsum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sit</a:t>
            </a:r>
            <a:r>
              <a:rPr lang="lt-LT" dirty="0"/>
              <a:t> </a:t>
            </a:r>
            <a:r>
              <a:rPr lang="lt-LT" dirty="0" err="1"/>
              <a:t>amet</a:t>
            </a:r>
            <a:r>
              <a:rPr lang="lt-LT" dirty="0"/>
              <a:t>, </a:t>
            </a:r>
            <a:r>
              <a:rPr lang="lt-LT" dirty="0" err="1"/>
              <a:t>consectetuer</a:t>
            </a:r>
            <a:r>
              <a:rPr lang="lt-LT" dirty="0"/>
              <a:t> </a:t>
            </a:r>
            <a:r>
              <a:rPr lang="lt-LT" dirty="0" err="1"/>
              <a:t>adipiscing</a:t>
            </a:r>
            <a:r>
              <a:rPr lang="lt-LT" dirty="0"/>
              <a:t> </a:t>
            </a:r>
            <a:r>
              <a:rPr lang="lt-LT" dirty="0" err="1"/>
              <a:t>elit</a:t>
            </a:r>
            <a:r>
              <a:rPr lang="lt-LT" dirty="0"/>
              <a:t>, </a:t>
            </a:r>
            <a:r>
              <a:rPr lang="lt-LT" dirty="0" err="1"/>
              <a:t>sed</a:t>
            </a:r>
            <a:r>
              <a:rPr lang="lt-LT" dirty="0"/>
              <a:t> </a:t>
            </a:r>
            <a:r>
              <a:rPr lang="lt-LT" dirty="0" err="1"/>
              <a:t>diam</a:t>
            </a:r>
            <a:r>
              <a:rPr lang="lt-LT" dirty="0"/>
              <a:t> </a:t>
            </a:r>
            <a:r>
              <a:rPr lang="lt-LT" dirty="0" err="1"/>
              <a:t>nonummy</a:t>
            </a:r>
            <a:r>
              <a:rPr lang="lt-LT" dirty="0"/>
              <a:t> </a:t>
            </a:r>
            <a:r>
              <a:rPr lang="lt-LT" dirty="0" err="1"/>
              <a:t>nibh</a:t>
            </a:r>
            <a:r>
              <a:rPr lang="lt-LT" dirty="0"/>
              <a:t> </a:t>
            </a:r>
            <a:r>
              <a:rPr lang="lt-LT" dirty="0" err="1"/>
              <a:t>euismod</a:t>
            </a:r>
            <a:r>
              <a:rPr lang="lt-LT" dirty="0"/>
              <a:t> </a:t>
            </a:r>
            <a:r>
              <a:rPr lang="lt-LT" dirty="0" err="1"/>
              <a:t>tincidunt</a:t>
            </a:r>
            <a:r>
              <a:rPr lang="lt-LT" dirty="0"/>
              <a:t>.</a:t>
            </a:r>
            <a:endParaRPr lang="en-LT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353E2AA8-EBFE-E7FC-F2AD-627A1282B92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625343" y="3398520"/>
            <a:ext cx="2004058" cy="967740"/>
          </a:xfrm>
        </p:spPr>
        <p:txBody>
          <a:bodyPr>
            <a:normAutofit/>
          </a:bodyPr>
          <a:lstStyle>
            <a:lvl1pPr marL="128588" indent="-128588">
              <a:lnSpc>
                <a:spcPts val="990"/>
              </a:lnSpc>
              <a:spcBef>
                <a:spcPts val="0"/>
              </a:spcBef>
              <a:spcAft>
                <a:spcPts val="750"/>
              </a:spcAft>
              <a:buSzPct val="110000"/>
              <a:buFont typeface="Monaco" pitchFamily="2" charset="77"/>
              <a:buChar char="⎼"/>
              <a:defRPr sz="825"/>
            </a:lvl1pPr>
          </a:lstStyle>
          <a:p>
            <a:pPr lvl="0"/>
            <a:r>
              <a:rPr lang="lt-LT" dirty="0" err="1"/>
              <a:t>Lorem</a:t>
            </a:r>
            <a:r>
              <a:rPr lang="lt-LT" dirty="0"/>
              <a:t> </a:t>
            </a:r>
            <a:r>
              <a:rPr lang="lt-LT" dirty="0" err="1"/>
              <a:t>ipsum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sit</a:t>
            </a:r>
            <a:r>
              <a:rPr lang="lt-LT" dirty="0"/>
              <a:t>.</a:t>
            </a:r>
          </a:p>
          <a:p>
            <a:pPr lvl="0"/>
            <a:r>
              <a:rPr lang="lt-LT" dirty="0" err="1"/>
              <a:t>Amet</a:t>
            </a:r>
            <a:r>
              <a:rPr lang="lt-LT" dirty="0"/>
              <a:t>, </a:t>
            </a:r>
            <a:r>
              <a:rPr lang="lt-LT" dirty="0" err="1"/>
              <a:t>consectetuer</a:t>
            </a:r>
            <a:r>
              <a:rPr lang="lt-LT" dirty="0"/>
              <a:t> </a:t>
            </a:r>
            <a:r>
              <a:rPr lang="lt-LT" dirty="0" err="1"/>
              <a:t>adipiscing</a:t>
            </a:r>
            <a:r>
              <a:rPr lang="lt-LT" dirty="0"/>
              <a:t> </a:t>
            </a:r>
            <a:r>
              <a:rPr lang="lt-LT" dirty="0" err="1"/>
              <a:t>elit</a:t>
            </a:r>
            <a:r>
              <a:rPr lang="lt-LT" dirty="0"/>
              <a:t>, </a:t>
            </a:r>
            <a:r>
              <a:rPr lang="lt-LT" dirty="0" err="1"/>
              <a:t>sed</a:t>
            </a:r>
            <a:r>
              <a:rPr lang="lt-LT" dirty="0"/>
              <a:t> </a:t>
            </a:r>
            <a:r>
              <a:rPr lang="lt-LT" dirty="0" err="1"/>
              <a:t>diam</a:t>
            </a:r>
            <a:r>
              <a:rPr lang="lt-LT" dirty="0"/>
              <a:t> </a:t>
            </a:r>
            <a:r>
              <a:rPr lang="lt-LT" dirty="0" err="1"/>
              <a:t>nonummy</a:t>
            </a:r>
            <a:r>
              <a:rPr lang="lt-LT" dirty="0"/>
              <a:t> </a:t>
            </a:r>
            <a:r>
              <a:rPr lang="lt-LT" dirty="0" err="1"/>
              <a:t>nibh</a:t>
            </a:r>
            <a:r>
              <a:rPr lang="lt-LT" dirty="0"/>
              <a:t> </a:t>
            </a:r>
            <a:r>
              <a:rPr lang="lt-LT" dirty="0" err="1"/>
              <a:t>euismod</a:t>
            </a:r>
            <a:r>
              <a:rPr lang="lt-LT" dirty="0"/>
              <a:t> </a:t>
            </a:r>
          </a:p>
          <a:p>
            <a:pPr lvl="0"/>
            <a:r>
              <a:rPr lang="lt-LT" dirty="0" err="1"/>
              <a:t>Tincidunt</a:t>
            </a:r>
            <a:r>
              <a:rPr lang="lt-LT" dirty="0"/>
              <a:t>. </a:t>
            </a:r>
            <a:r>
              <a:rPr lang="lt-LT" dirty="0" err="1"/>
              <a:t>laoreet</a:t>
            </a:r>
            <a:r>
              <a:rPr lang="lt-LT" dirty="0"/>
              <a:t> </a:t>
            </a:r>
            <a:r>
              <a:rPr lang="lt-LT" dirty="0" err="1"/>
              <a:t>dolore</a:t>
            </a:r>
            <a:r>
              <a:rPr lang="lt-LT" dirty="0"/>
              <a:t> </a:t>
            </a:r>
            <a:r>
              <a:rPr lang="lt-LT" dirty="0" err="1"/>
              <a:t>magna</a:t>
            </a:r>
            <a:r>
              <a:rPr lang="lt-LT" dirty="0"/>
              <a:t>. Duis </a:t>
            </a:r>
            <a:r>
              <a:rPr lang="lt-LT" dirty="0" err="1"/>
              <a:t>autem</a:t>
            </a:r>
            <a:r>
              <a:rPr lang="lt-LT" dirty="0"/>
              <a:t> </a:t>
            </a:r>
            <a:r>
              <a:rPr lang="lt-LT" dirty="0" err="1"/>
              <a:t>vel</a:t>
            </a:r>
            <a:r>
              <a:rPr lang="lt-LT" dirty="0"/>
              <a:t> </a:t>
            </a:r>
            <a:r>
              <a:rPr lang="lt-LT" dirty="0" err="1"/>
              <a:t>eum</a:t>
            </a:r>
            <a:r>
              <a:rPr lang="lt-LT" dirty="0"/>
              <a:t> </a:t>
            </a:r>
            <a:r>
              <a:rPr lang="lt-LT" dirty="0" err="1"/>
              <a:t>iriure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in</a:t>
            </a:r>
            <a:r>
              <a:rPr lang="lt-LT" dirty="0"/>
              <a:t> </a:t>
            </a:r>
            <a:r>
              <a:rPr lang="lt-LT" dirty="0" err="1"/>
              <a:t>hendrerit</a:t>
            </a:r>
            <a:r>
              <a:rPr lang="lt-LT" dirty="0"/>
              <a:t>.</a:t>
            </a:r>
            <a:endParaRPr lang="en-LT" dirty="0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A262976-5008-C93C-0619-8B366A2CED2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684930" y="2895600"/>
            <a:ext cx="2004058" cy="967740"/>
          </a:xfrm>
        </p:spPr>
        <p:txBody>
          <a:bodyPr>
            <a:normAutofit/>
          </a:bodyPr>
          <a:lstStyle>
            <a:lvl1pPr marL="128588" indent="-128588">
              <a:lnSpc>
                <a:spcPts val="990"/>
              </a:lnSpc>
              <a:spcBef>
                <a:spcPts val="0"/>
              </a:spcBef>
              <a:spcAft>
                <a:spcPts val="750"/>
              </a:spcAft>
              <a:buSzPct val="110000"/>
              <a:buFont typeface="Monaco" pitchFamily="2" charset="77"/>
              <a:buChar char="⎼"/>
              <a:defRPr sz="825"/>
            </a:lvl1pPr>
          </a:lstStyle>
          <a:p>
            <a:pPr lvl="0"/>
            <a:r>
              <a:rPr lang="lt-LT" dirty="0" err="1"/>
              <a:t>Lorem</a:t>
            </a:r>
            <a:r>
              <a:rPr lang="lt-LT" dirty="0"/>
              <a:t> </a:t>
            </a:r>
            <a:r>
              <a:rPr lang="lt-LT" dirty="0" err="1"/>
              <a:t>ipsum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sit</a:t>
            </a:r>
            <a:r>
              <a:rPr lang="lt-LT" dirty="0"/>
              <a:t>.</a:t>
            </a:r>
          </a:p>
          <a:p>
            <a:pPr lvl="0"/>
            <a:r>
              <a:rPr lang="lt-LT" dirty="0" err="1"/>
              <a:t>Amet</a:t>
            </a:r>
            <a:r>
              <a:rPr lang="lt-LT" dirty="0"/>
              <a:t>, </a:t>
            </a:r>
            <a:r>
              <a:rPr lang="lt-LT" dirty="0" err="1"/>
              <a:t>consectetuer</a:t>
            </a:r>
            <a:r>
              <a:rPr lang="lt-LT" dirty="0"/>
              <a:t> </a:t>
            </a:r>
            <a:r>
              <a:rPr lang="lt-LT" dirty="0" err="1"/>
              <a:t>adipiscing</a:t>
            </a:r>
            <a:r>
              <a:rPr lang="lt-LT" dirty="0"/>
              <a:t> </a:t>
            </a:r>
            <a:r>
              <a:rPr lang="lt-LT" dirty="0" err="1"/>
              <a:t>elit</a:t>
            </a:r>
            <a:r>
              <a:rPr lang="lt-LT" dirty="0"/>
              <a:t>, </a:t>
            </a:r>
            <a:r>
              <a:rPr lang="lt-LT" dirty="0" err="1"/>
              <a:t>sed</a:t>
            </a:r>
            <a:r>
              <a:rPr lang="lt-LT" dirty="0"/>
              <a:t> </a:t>
            </a:r>
            <a:r>
              <a:rPr lang="lt-LT" dirty="0" err="1"/>
              <a:t>diam</a:t>
            </a:r>
            <a:r>
              <a:rPr lang="lt-LT" dirty="0"/>
              <a:t> </a:t>
            </a:r>
            <a:r>
              <a:rPr lang="lt-LT" dirty="0" err="1"/>
              <a:t>nonummy</a:t>
            </a:r>
            <a:r>
              <a:rPr lang="lt-LT" dirty="0"/>
              <a:t> </a:t>
            </a:r>
            <a:r>
              <a:rPr lang="lt-LT" dirty="0" err="1"/>
              <a:t>nibh</a:t>
            </a:r>
            <a:r>
              <a:rPr lang="lt-LT" dirty="0"/>
              <a:t> </a:t>
            </a:r>
            <a:r>
              <a:rPr lang="lt-LT" dirty="0" err="1"/>
              <a:t>euismod</a:t>
            </a:r>
            <a:r>
              <a:rPr lang="lt-LT" dirty="0"/>
              <a:t> </a:t>
            </a:r>
          </a:p>
          <a:p>
            <a:pPr lvl="0"/>
            <a:r>
              <a:rPr lang="lt-LT" dirty="0" err="1"/>
              <a:t>Tincidunt</a:t>
            </a:r>
            <a:r>
              <a:rPr lang="lt-LT" dirty="0"/>
              <a:t>. </a:t>
            </a:r>
            <a:r>
              <a:rPr lang="lt-LT" dirty="0" err="1"/>
              <a:t>laoreet</a:t>
            </a:r>
            <a:r>
              <a:rPr lang="lt-LT" dirty="0"/>
              <a:t> </a:t>
            </a:r>
            <a:r>
              <a:rPr lang="lt-LT" dirty="0" err="1"/>
              <a:t>dolore</a:t>
            </a:r>
            <a:r>
              <a:rPr lang="lt-LT" dirty="0"/>
              <a:t> </a:t>
            </a:r>
            <a:r>
              <a:rPr lang="lt-LT" dirty="0" err="1"/>
              <a:t>magna</a:t>
            </a:r>
            <a:r>
              <a:rPr lang="lt-LT" dirty="0"/>
              <a:t>. Duis </a:t>
            </a:r>
            <a:r>
              <a:rPr lang="lt-LT" dirty="0" err="1"/>
              <a:t>autem</a:t>
            </a:r>
            <a:r>
              <a:rPr lang="lt-LT" dirty="0"/>
              <a:t> </a:t>
            </a:r>
            <a:r>
              <a:rPr lang="lt-LT" dirty="0" err="1"/>
              <a:t>vel</a:t>
            </a:r>
            <a:r>
              <a:rPr lang="lt-LT" dirty="0"/>
              <a:t> </a:t>
            </a:r>
            <a:r>
              <a:rPr lang="lt-LT" dirty="0" err="1"/>
              <a:t>eum</a:t>
            </a:r>
            <a:r>
              <a:rPr lang="lt-LT" dirty="0"/>
              <a:t> </a:t>
            </a:r>
            <a:r>
              <a:rPr lang="lt-LT" dirty="0" err="1"/>
              <a:t>iriure</a:t>
            </a:r>
            <a:r>
              <a:rPr lang="lt-LT" dirty="0"/>
              <a:t> </a:t>
            </a:r>
            <a:r>
              <a:rPr lang="lt-LT" dirty="0" err="1"/>
              <a:t>dolor</a:t>
            </a:r>
            <a:r>
              <a:rPr lang="lt-LT" dirty="0"/>
              <a:t> </a:t>
            </a:r>
            <a:r>
              <a:rPr lang="lt-LT" dirty="0" err="1"/>
              <a:t>in</a:t>
            </a:r>
            <a:r>
              <a:rPr lang="lt-LT" dirty="0"/>
              <a:t> </a:t>
            </a:r>
            <a:r>
              <a:rPr lang="lt-LT" dirty="0" err="1"/>
              <a:t>hendrerit</a:t>
            </a:r>
            <a:r>
              <a:rPr lang="lt-LT" dirty="0"/>
              <a:t>.</a:t>
            </a:r>
            <a:endParaRPr lang="en-LT" dirty="0"/>
          </a:p>
        </p:txBody>
      </p:sp>
    </p:spTree>
    <p:extLst>
      <p:ext uri="{BB962C8B-B14F-4D97-AF65-F5344CB8AC3E}">
        <p14:creationId xmlns:p14="http://schemas.microsoft.com/office/powerpoint/2010/main" val="2521141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9860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18194077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4760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48845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2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45699" tIns="22849" rIns="45699" bIns="22849">
            <a:noAutofit/>
          </a:bodyPr>
          <a:lstStyle>
            <a:lvl1pPr>
              <a:defRPr sz="300"/>
            </a:lvl1pPr>
          </a:lstStyle>
          <a:p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68594" y="1545756"/>
            <a:ext cx="3206818" cy="890996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ctr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bg1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GRAPHIC</a:t>
            </a:r>
            <a:br>
              <a:rPr lang="en-US" dirty="0"/>
            </a:br>
            <a:r>
              <a:rPr lang="en-US" dirty="0"/>
              <a:t>SLIDE</a:t>
            </a:r>
            <a:endParaRPr lang="ru-RU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66794" y="2804395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6794" y="3026598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890983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1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464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4555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937465"/>
            <a:ext cx="2057400" cy="187039"/>
          </a:xfrm>
          <a:prstGeom prst="rect">
            <a:avLst/>
          </a:prstGeom>
        </p:spPr>
        <p:txBody>
          <a:bodyPr/>
          <a:lstStyle/>
          <a:p>
            <a:fld id="{654299F2-490A-4689-9798-694CAE1CDFB5}" type="datetime1">
              <a:rPr lang="en-US" smtClean="0"/>
              <a:t>7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937465"/>
            <a:ext cx="3086100" cy="187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57987" y="4937466"/>
            <a:ext cx="260800" cy="187039"/>
          </a:xfrm>
          <a:prstGeom prst="rect">
            <a:avLst/>
          </a:prstGeom>
        </p:spPr>
        <p:txBody>
          <a:bodyPr/>
          <a:lstStyle/>
          <a:p>
            <a:fld id="{3E3E31EF-75AC-41D4-8B73-7D10C33DA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2518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05053" y="324000"/>
            <a:ext cx="8333285" cy="810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405053" y="729000"/>
            <a:ext cx="8333285" cy="405000"/>
          </a:xfrm>
        </p:spPr>
        <p:txBody>
          <a:bodyPr/>
          <a:lstStyle>
            <a:lvl1pPr marL="0" indent="0">
              <a:buNone/>
              <a:defRPr baseline="0">
                <a:solidFill>
                  <a:srgbClr val="7F7F7F"/>
                </a:solidFill>
              </a:defRPr>
            </a:lvl1pPr>
          </a:lstStyle>
          <a:p>
            <a:pPr lvl="0"/>
            <a:r>
              <a:rPr lang="en-US" dirty="0"/>
              <a:t>Enter your subtitle here</a:t>
            </a:r>
          </a:p>
        </p:txBody>
      </p:sp>
      <p:sp>
        <p:nvSpPr>
          <p:cNvPr id="3" name="Content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FC3DAB-407D-4279-8EB6-232635B61438}" type="datetimeFigureOut">
              <a:rPr lang="en-US" smtClean="0"/>
              <a:t>7/18/2023</a:t>
            </a:fld>
            <a:endParaRPr lang="en-US" dirty="0"/>
          </a:p>
        </p:txBody>
      </p:sp>
      <p:sp>
        <p:nvSpPr>
          <p:cNvPr id="5" name="Footer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EFE82-39F2-4F47-8A0C-D5AB3496FA5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5416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9231F82-7C72-CC7E-6F62-A80C1C955D9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64433" y="4556467"/>
            <a:ext cx="2264468" cy="426720"/>
          </a:xfrm>
        </p:spPr>
        <p:txBody>
          <a:bodyPr>
            <a:normAutofit/>
          </a:bodyPr>
          <a:lstStyle>
            <a:lvl1pPr marL="0" indent="0">
              <a:lnSpc>
                <a:spcPts val="990"/>
              </a:lnSpc>
              <a:spcBef>
                <a:spcPts val="0"/>
              </a:spcBef>
              <a:buNone/>
              <a:defRPr sz="825">
                <a:solidFill>
                  <a:schemeClr val="bg1"/>
                </a:solidFill>
              </a:defRPr>
            </a:lvl1pPr>
          </a:lstStyle>
          <a:p>
            <a:pPr lvl="0"/>
            <a:r>
              <a:rPr lang="lt-LT" dirty="0" err="1"/>
              <a:t>Mykol</a:t>
            </a:r>
            <a:r>
              <a:rPr lang="en-US" dirty="0"/>
              <a:t>as</a:t>
            </a:r>
            <a:r>
              <a:rPr lang="lt-LT" dirty="0"/>
              <a:t> Romeri</a:t>
            </a:r>
            <a:r>
              <a:rPr lang="en-US" dirty="0"/>
              <a:t>s</a:t>
            </a:r>
            <a:r>
              <a:rPr lang="lt-LT" dirty="0"/>
              <a:t> </a:t>
            </a:r>
            <a:r>
              <a:rPr lang="en-US" dirty="0"/>
              <a:t>U</a:t>
            </a:r>
            <a:r>
              <a:rPr lang="lt-LT" dirty="0" err="1"/>
              <a:t>niversit</a:t>
            </a:r>
            <a:r>
              <a:rPr lang="en-US" dirty="0"/>
              <a:t>y</a:t>
            </a:r>
            <a:endParaRPr lang="lt-LT" dirty="0"/>
          </a:p>
          <a:p>
            <a:pPr lvl="0"/>
            <a:r>
              <a:rPr lang="lt-LT" dirty="0"/>
              <a:t>Ateities </a:t>
            </a:r>
            <a:r>
              <a:rPr lang="en-US" dirty="0" err="1"/>
              <a:t>st</a:t>
            </a:r>
            <a:r>
              <a:rPr lang="lt-LT" dirty="0"/>
              <a:t>. 20, Vilnius, LT-08303 Lithuania</a:t>
            </a:r>
            <a:endParaRPr lang="en-LT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0CFECC8A-FE33-A893-3AEC-C6F9D4FD681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957039" y="4677508"/>
            <a:ext cx="910451" cy="208963"/>
          </a:xfrm>
        </p:spPr>
        <p:txBody>
          <a:bodyPr>
            <a:normAutofit/>
          </a:bodyPr>
          <a:lstStyle>
            <a:lvl1pPr marL="0" indent="0">
              <a:lnSpc>
                <a:spcPts val="990"/>
              </a:lnSpc>
              <a:spcBef>
                <a:spcPts val="0"/>
              </a:spcBef>
              <a:buNone/>
              <a:defRPr sz="825" b="1">
                <a:solidFill>
                  <a:schemeClr val="bg1"/>
                </a:solidFill>
              </a:defRPr>
            </a:lvl1pPr>
          </a:lstStyle>
          <a:p>
            <a:pPr lvl="0"/>
            <a:r>
              <a:rPr lang="lt-LT" dirty="0" err="1"/>
              <a:t>www.mruni.eu</a:t>
            </a:r>
            <a:endParaRPr lang="en-LT" dirty="0"/>
          </a:p>
        </p:txBody>
      </p:sp>
      <p:pic>
        <p:nvPicPr>
          <p:cNvPr id="5" name="Picture 4" descr="Logo, icon&#10;&#10;Description automatically generated">
            <a:hlinkClick r:id="rId2"/>
            <a:extLst>
              <a:ext uri="{FF2B5EF4-FFF2-40B4-BE49-F238E27FC236}">
                <a16:creationId xmlns:a16="http://schemas.microsoft.com/office/drawing/2014/main" id="{C5EC83A4-4E99-BB8E-C5D9-A28F54DAD03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09630" y="4677507"/>
            <a:ext cx="208963" cy="208963"/>
          </a:xfrm>
          <a:prstGeom prst="rect">
            <a:avLst/>
          </a:prstGeom>
        </p:spPr>
      </p:pic>
      <p:pic>
        <p:nvPicPr>
          <p:cNvPr id="7" name="Picture 6" descr="Icon&#10;&#10;Description automatically generated">
            <a:hlinkClick r:id="rId4"/>
            <a:extLst>
              <a:ext uri="{FF2B5EF4-FFF2-40B4-BE49-F238E27FC236}">
                <a16:creationId xmlns:a16="http://schemas.microsoft.com/office/drawing/2014/main" id="{CC64949E-C18E-8870-06FA-4807C87EDDD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084401" y="4677508"/>
            <a:ext cx="208963" cy="20896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7DAA6FA-AD95-29BB-AE8C-B1686971889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6720" y="421957"/>
            <a:ext cx="2008162" cy="658178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1EDB964F-944F-EC44-76D2-382EE268B314}"/>
              </a:ext>
            </a:extLst>
          </p:cNvPr>
          <p:cNvCxnSpPr>
            <a:cxnSpLocks/>
          </p:cNvCxnSpPr>
          <p:nvPr userDrawn="1"/>
        </p:nvCxnSpPr>
        <p:spPr>
          <a:xfrm>
            <a:off x="422910" y="4314306"/>
            <a:ext cx="82981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13F8AC93-0F30-978F-274A-EF0F093D07A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43700" y="485759"/>
            <a:ext cx="1977390" cy="530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051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5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9529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3503820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10258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7650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4F94DD-3A67-4F9D-8BE1-67A937415F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110222-D8EB-4219-9B90-2FF9E1F857B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425176-67E7-4D53-A339-D13241098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BAFBD42-1802-405B-8CA3-8CE7654C90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F3BEA4-7118-4FFB-A2E0-A2DBEEBB67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25449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00645" y="627762"/>
            <a:ext cx="3161374" cy="998995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l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tx2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NAME OF YOUR TOP SLIDE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21" hasCustomPrompt="1"/>
          </p:nvPr>
        </p:nvSpPr>
        <p:spPr>
          <a:xfrm>
            <a:off x="600645" y="1950753"/>
            <a:ext cx="3161374" cy="2213990"/>
          </a:xfrm>
          <a:prstGeom prst="rect">
            <a:avLst/>
          </a:prstGeom>
        </p:spPr>
        <p:txBody>
          <a:bodyPr lIns="45699" tIns="22849" rIns="45699" bIns="22849"/>
          <a:lstStyle>
            <a:lvl1pPr algn="l">
              <a:lnSpc>
                <a:spcPct val="120000"/>
              </a:lnSpc>
              <a:spcBef>
                <a:spcPts val="477"/>
              </a:spcBef>
              <a:defRPr lang="en-US" sz="900" b="0" i="0" kern="1200" baseline="0" dirty="0">
                <a:solidFill>
                  <a:schemeClr val="tx2"/>
                </a:solidFill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pPr marL="0" lvl="0" indent="0" algn="l" defTabSz="913988" rtl="0" eaLnBrk="1" latinLnBrk="0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en-US" dirty="0"/>
              <a:t>Example text</a:t>
            </a:r>
          </a:p>
        </p:txBody>
      </p:sp>
    </p:spTree>
    <p:extLst>
      <p:ext uri="{BB962C8B-B14F-4D97-AF65-F5344CB8AC3E}">
        <p14:creationId xmlns:p14="http://schemas.microsoft.com/office/powerpoint/2010/main" val="10641961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4DE0241-1839-8374-D7B3-29BF8FAC5BD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" y="0"/>
            <a:ext cx="5383160" cy="5143500"/>
          </a:xfrm>
          <a:prstGeom prst="rect">
            <a:avLst/>
          </a:prstGeom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5A8E708E-F769-B352-0BF8-8CD765CE8DD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1338" y="2594912"/>
            <a:ext cx="4121944" cy="1229915"/>
          </a:xfrm>
        </p:spPr>
        <p:txBody>
          <a:bodyPr>
            <a:noAutofit/>
          </a:bodyPr>
          <a:lstStyle>
            <a:lvl1pPr marL="0" indent="0">
              <a:lnSpc>
                <a:spcPts val="4650"/>
              </a:lnSpc>
              <a:spcBef>
                <a:spcPts val="0"/>
              </a:spcBef>
              <a:buNone/>
              <a:defRPr sz="3750" kern="1000" baseline="0"/>
            </a:lvl1pPr>
          </a:lstStyle>
          <a:p>
            <a:pPr lvl="0"/>
            <a:r>
              <a:rPr lang="en-LT" dirty="0"/>
              <a:t>Prezentacijos pavadinim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077A3B1-EBA7-74FB-3C3B-2120856B20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01338" y="4380212"/>
            <a:ext cx="2064716" cy="575931"/>
          </a:xfrm>
        </p:spPr>
        <p:txBody>
          <a:bodyPr>
            <a:noAutofit/>
          </a:bodyPr>
          <a:lstStyle>
            <a:lvl1pPr marL="0" indent="0">
              <a:lnSpc>
                <a:spcPts val="1725"/>
              </a:lnSpc>
              <a:spcBef>
                <a:spcPts val="0"/>
              </a:spcBef>
              <a:buNone/>
              <a:defRPr sz="1500" kern="1000" baseline="0"/>
            </a:lvl1pPr>
          </a:lstStyle>
          <a:p>
            <a:pPr lvl="0"/>
            <a:r>
              <a:rPr lang="en-LT" dirty="0"/>
              <a:t>Papildomas tekstas</a:t>
            </a:r>
          </a:p>
          <a:p>
            <a:pPr lvl="0"/>
            <a:r>
              <a:rPr lang="en-US" dirty="0"/>
              <a:t>j</a:t>
            </a:r>
            <a:r>
              <a:rPr lang="en-LT" dirty="0"/>
              <a:t>ei reikalinga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92759A-EE80-5F20-AD50-F5756E959DF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4389945" y="4639217"/>
            <a:ext cx="728810" cy="273844"/>
          </a:xfrm>
        </p:spPr>
        <p:txBody>
          <a:bodyPr/>
          <a:lstStyle>
            <a:lvl1pPr>
              <a:defRPr sz="750" b="1">
                <a:solidFill>
                  <a:schemeClr val="tx1"/>
                </a:solidFill>
              </a:defRPr>
            </a:lvl1pPr>
          </a:lstStyle>
          <a:p>
            <a:fld id="{3B945577-1328-2847-A4CF-C5380E03ACDB}" type="datetimeFigureOut">
              <a:rPr lang="en-LT" smtClean="0"/>
              <a:pPr/>
              <a:t>07/18/2023</a:t>
            </a:fld>
            <a:endParaRPr lang="en-LT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2D216A1-03C9-DD6E-AC44-961014A6506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60329" y="385348"/>
            <a:ext cx="1204529" cy="862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36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483C2D-7C0A-4BEF-A426-32E598F735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A2B4C67-056E-4391-B506-FE4929841C2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A3F9D4C-5F6D-4768-B71E-8621B3C39D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196A9DF-9ECD-48A2-9D8B-03DDBA2688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83CEEEB-2D0D-43A2-9B30-4BC2EE2567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863722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E4C2C2C-0B6C-43CF-B697-70B0BF073F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7F4E9AA5-6F97-45EB-8D87-6615FF2976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30562A6-43E6-4462-A7A9-0A4FC3C201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39A3404-1178-43A9-BD13-F828FD96AB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AE652375-3011-45CD-96DB-94111C6A0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4984676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1CEAF1-16A5-4C54-84DB-FF8519092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0244519F-2F71-47C8-9AB3-E687BC2CA1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C039769C-3A92-4EEC-843A-4B7FBF2CD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A2D7835-C005-4594-A6CC-4CD1289B3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759FB54E-4194-4C3A-BD15-8BB29AA7A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8146637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B6A0B30-3896-4945-BE4D-F34B6BB15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C4A171F-3DBE-41F2-A9CB-292A6D06A2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089D921-947A-4E35-9072-6DCAF85FC8A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52862A43-FE77-4029-8CD0-9FE69B1FA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4E2D2748-7B28-42F1-933B-C6913A1AD6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2567A7E-DA3F-4ADC-993B-9C738017DE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60162218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A97EC5D-FD99-4D4F-9CE1-3038CDB96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E1A5ACF-B1D8-46BD-9B92-CFF28FF1CD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1DB0F47-DEDC-4570-99AC-21A1133057F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6EB25284-5353-49C4-B9A4-2ADC983819E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BBF7DC4-ACD0-4A07-9AF8-9E741E9BFEA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5A41FB1B-E583-44B2-AB7E-3E0DE7B259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647235BF-C5C2-4A08-A032-2C3C3BD37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F8B81748-8D0B-4528-8397-3CC15394F7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6700007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051947A-B30F-4A53-8E8F-6794983AFF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6D048389-4AF6-4DBE-AE00-BBB3F781B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EAA617D-6500-4DA2-909A-F8D1D0CA69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70BC923-1632-423D-B5D6-05C266553B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521045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4F3C1A-5A9E-47E3-98DE-1CD00D7164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1411670-D600-4AB1-8266-6960E65A0E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1E98C883-8DD2-4DBC-99F0-D6D5453C1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66225029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BACBB3-4F56-4359-A2FA-08BE53A98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678499E-6243-4507-BAFB-F0E0D95BC4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D43670ED-2565-4A84-BCF8-143C55E29C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C924E9B-3E48-4FA3-99FC-30240661F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E4B2B22-8480-491A-B96E-47A7A444AC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4F55FC9D-0463-45D0-A530-7B8EC39B76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1028045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56E02-CD4F-4704-A2EC-5592BAAA1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6B2EDE-BB0D-4C7A-9ADD-D439F1A824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1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F1276A-1037-4813-B999-D1FBD36A400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3D0CA6B-0317-47D0-9D76-2FB448A6F3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29A480B-FC6A-49BA-9A5E-F49F982EA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93E6E1-FBF0-48AC-9747-F40279C67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6200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07E72C-7E03-4375-8B86-1BF2D53E00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8AD5BA50-9896-487D-B970-A426D748DA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IE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B67E3342-03DC-4500-8A3F-6FB14858045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B6FE0D4-3F34-4CAC-A572-F2311F7FD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8833226-A644-4BDA-8D00-3A67D1D189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0F3BBA59-BCEC-482A-AC3E-6A09FD27C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326724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EA7A10-FF05-4ED2-A820-5EB1430161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0E9725FD-9A8A-46C6-9F8F-7645901A30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89EF9CC-C47E-4DD3-B62A-A52B2F05A9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9DF0767-6995-41A6-AE54-B63F070BB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505E96E-F47C-4627-ACA4-E11436900D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58026741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54F4C333-D7FF-490A-8C1F-4607B97C98D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2EE12B73-5F3E-42E5-ADD6-6D8D697A41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6355127-8245-4E27-8361-FA4045758E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C8AEEA-1EA3-42C9-A762-44606EEB6B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1C703990-C3AE-4598-B4DD-F5992120E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54108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7919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ส่วนหัวของส่ว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377508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86895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D20A1C01-5A8D-4D28-BD2A-5F7CD77A5EE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297198" y="2"/>
            <a:ext cx="2252406" cy="2549351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FA33A9A-7C63-48CF-80D3-E8B89809C8F6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4594396" y="2"/>
            <a:ext cx="2252406" cy="2549351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F2BA50BE-6CD6-438C-ABA3-F0CA17693FC6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0" y="2594150"/>
            <a:ext cx="2252406" cy="2549351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B1D48CD9-A0E5-4ECB-A530-D4DAC86466F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2297198" y="2594150"/>
            <a:ext cx="2252406" cy="2549351"/>
          </a:xfrm>
          <a:custGeom>
            <a:avLst/>
            <a:gdLst>
              <a:gd name="connsiteX0" fmla="*/ 0 w 6007198"/>
              <a:gd name="connsiteY0" fmla="*/ 0 h 6798269"/>
              <a:gd name="connsiteX1" fmla="*/ 6007198 w 6007198"/>
              <a:gd name="connsiteY1" fmla="*/ 0 h 6798269"/>
              <a:gd name="connsiteX2" fmla="*/ 6007198 w 6007198"/>
              <a:gd name="connsiteY2" fmla="*/ 6798269 h 6798269"/>
              <a:gd name="connsiteX3" fmla="*/ 0 w 6007198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198" h="6798269">
                <a:moveTo>
                  <a:pt x="0" y="0"/>
                </a:moveTo>
                <a:lnTo>
                  <a:pt x="6007198" y="0"/>
                </a:lnTo>
                <a:lnTo>
                  <a:pt x="6007198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93736B91-70C5-47D4-915B-F2450F410BD0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6891595" y="2"/>
            <a:ext cx="2252407" cy="2549351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1F9A97A3-008B-4DBE-8BA2-2FBF3BDFE4E2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4594397" y="2594150"/>
            <a:ext cx="2252407" cy="2549351"/>
          </a:xfrm>
          <a:custGeom>
            <a:avLst/>
            <a:gdLst>
              <a:gd name="connsiteX0" fmla="*/ 0 w 6007200"/>
              <a:gd name="connsiteY0" fmla="*/ 0 h 6798269"/>
              <a:gd name="connsiteX1" fmla="*/ 6007200 w 6007200"/>
              <a:gd name="connsiteY1" fmla="*/ 0 h 6798269"/>
              <a:gd name="connsiteX2" fmla="*/ 6007200 w 6007200"/>
              <a:gd name="connsiteY2" fmla="*/ 6798269 h 6798269"/>
              <a:gd name="connsiteX3" fmla="*/ 0 w 6007200"/>
              <a:gd name="connsiteY3" fmla="*/ 6798269 h 6798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07200" h="6798269">
                <a:moveTo>
                  <a:pt x="0" y="0"/>
                </a:moveTo>
                <a:lnTo>
                  <a:pt x="6007200" y="0"/>
                </a:lnTo>
                <a:lnTo>
                  <a:pt x="6007200" y="6798269"/>
                </a:lnTo>
                <a:lnTo>
                  <a:pt x="0" y="6798269"/>
                </a:lnTo>
                <a:close/>
              </a:path>
            </a:pathLst>
          </a:custGeom>
          <a:pattFill prst="pct60">
            <a:fgClr>
              <a:srgbClr val="FFFFFF"/>
            </a:fgClr>
            <a:bgClr>
              <a:srgbClr val="E6E9EE"/>
            </a:bgClr>
          </a:pattFill>
        </p:spPr>
        <p:txBody>
          <a:bodyPr anchor="ctr"/>
          <a:lstStyle>
            <a:lvl1pPr>
              <a:defRPr lang="en-US"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370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  <p:bldP spid="32" grpId="0" animBg="1"/>
      <p:bldP spid="34" grpId="0" animBg="1"/>
      <p:bldP spid="35" grpId="0" animBg="1"/>
      <p:bldP spid="33" grpId="0" animBg="1"/>
      <p:bldP spid="36" grpId="0" animBg="1"/>
    </p:bldLst>
  </p:timing>
  <p:extLst>
    <p:ext uri="{DCECCB84-F9BA-43D5-87BE-67443E8EF086}">
      <p15:sldGuideLst xmlns:p15="http://schemas.microsoft.com/office/powerpoint/2012/main">
        <p15:guide id="4" orient="horz" pos="4320">
          <p15:clr>
            <a:srgbClr val="FBAE40"/>
          </p15:clr>
        </p15:guide>
        <p15:guide id="5" pos="768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88357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4832912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70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9D1DA-771B-44DC-81E1-1DA4FA9491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273846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97E6E2-8E37-4F5D-8914-7D5E129357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9A84BD4-F985-4823-B5D9-8C835183C8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3925DB9-8B17-484D-B6B4-3C70A67E91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01EB199-73A0-41BE-9485-0BF6B1AFAD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7B47525-5598-4611-95FF-7CF5BE5CD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AC9245-1F27-4F21-91EF-FC4C5C5D8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75905E-62A1-465A-B7F2-2AE16612B9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77858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Рисунок 20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45699" tIns="22849" rIns="45699" bIns="22849">
            <a:noAutofit/>
          </a:bodyPr>
          <a:lstStyle>
            <a:lvl1pPr>
              <a:defRPr sz="300"/>
            </a:lvl1pPr>
          </a:lstStyle>
          <a:p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68594" y="1545756"/>
            <a:ext cx="3206818" cy="890996"/>
          </a:xfrm>
          <a:prstGeom prst="rect">
            <a:avLst/>
          </a:prstGeom>
        </p:spPr>
        <p:txBody>
          <a:bodyPr lIns="45699" tIns="22849" rIns="45699" bIns="22849">
            <a:noAutofit/>
          </a:bodyPr>
          <a:lstStyle>
            <a:lvl1pPr marL="0" marR="0" indent="0" algn="ctr" defTabSz="91398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64964" algn="l"/>
              </a:tabLst>
              <a:defRPr lang="ru-RU" sz="2700" b="1" i="0" kern="1200" baseline="0" dirty="0">
                <a:solidFill>
                  <a:schemeClr val="bg1"/>
                </a:solidFill>
                <a:effectLst>
                  <a:outerShdw blurRad="762000" dist="381000" dir="5400000" algn="ctr" rotWithShape="0">
                    <a:schemeClr val="tx1">
                      <a:alpha val="30000"/>
                    </a:schemeClr>
                  </a:outerShdw>
                </a:effectLst>
                <a:latin typeface="DIN Pro Regular" panose="020B0504020101020102" pitchFamily="34" charset="0"/>
                <a:ea typeface="Tahoma" panose="020B0604030504040204" pitchFamily="34" charset="0"/>
                <a:cs typeface="DIN Pro Regular" panose="020B0504020101020102" pitchFamily="34" charset="0"/>
              </a:defRPr>
            </a:lvl1pPr>
          </a:lstStyle>
          <a:p>
            <a:r>
              <a:rPr lang="en-US" dirty="0"/>
              <a:t>GRAPHIC</a:t>
            </a:r>
            <a:br>
              <a:rPr lang="en-US" dirty="0"/>
            </a:br>
            <a:r>
              <a:rPr lang="en-US" dirty="0"/>
              <a:t>SLIDE</a:t>
            </a:r>
            <a:endParaRPr lang="ru-RU" dirty="0"/>
          </a:p>
        </p:txBody>
      </p:sp>
      <p:sp>
        <p:nvSpPr>
          <p:cNvPr id="7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2666794" y="2804395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2666794" y="3026598"/>
            <a:ext cx="3809817" cy="222203"/>
          </a:xfrm>
          <a:prstGeom prst="rect">
            <a:avLst/>
          </a:prstGeom>
        </p:spPr>
        <p:txBody>
          <a:bodyPr vert="horz" lIns="45699" tIns="22849" rIns="45699" bIns="22849" anchor="ctr">
            <a:noAutofit/>
          </a:bodyPr>
          <a:lstStyle>
            <a:lvl1pPr marL="0" indent="0" algn="ctr">
              <a:buNone/>
              <a:defRPr sz="1125" b="0">
                <a:solidFill>
                  <a:schemeClr val="bg1"/>
                </a:solidFill>
                <a:latin typeface="DIN Pro Regular" panose="020B0504020101020102" pitchFamily="34" charset="0"/>
                <a:cs typeface="DIN Pro Regular" panose="020B0504020101020102" pitchFamily="34" charset="0"/>
              </a:defRPr>
            </a:lvl1pPr>
            <a:lvl2pPr marL="342729" indent="0">
              <a:buNone/>
              <a:defRPr/>
            </a:lvl2pPr>
            <a:lvl3pPr marL="685457" indent="0">
              <a:buNone/>
              <a:defRPr/>
            </a:lvl3pPr>
            <a:lvl4pPr marL="1028186" indent="0">
              <a:buNone/>
              <a:defRPr/>
            </a:lvl4pPr>
            <a:lvl5pPr marL="1370915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53365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1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537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 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381001" y="883821"/>
            <a:ext cx="8368364" cy="17325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200" b="0" baseline="0">
                <a:solidFill>
                  <a:schemeClr val="bg1">
                    <a:lumMod val="65000"/>
                  </a:schemeClr>
                </a:solidFill>
                <a:latin typeface="Century Gothic"/>
                <a:ea typeface="Century Gothic"/>
                <a:cs typeface="Century Gothic"/>
              </a:defRPr>
            </a:lvl1pPr>
            <a:lvl2pPr marL="457178" indent="0">
              <a:buNone/>
              <a:defRPr sz="1200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  <a:lvl6pPr marL="2285886" indent="0">
              <a:buNone/>
              <a:defRPr sz="900"/>
            </a:lvl6pPr>
            <a:lvl7pPr marL="2743063" indent="0">
              <a:buNone/>
              <a:defRPr sz="900"/>
            </a:lvl7pPr>
            <a:lvl8pPr marL="3200240" indent="0">
              <a:buNone/>
              <a:defRPr sz="900"/>
            </a:lvl8pPr>
            <a:lvl9pPr marL="3657418" indent="0">
              <a:buNone/>
              <a:defRPr sz="900"/>
            </a:lvl9pPr>
          </a:lstStyle>
          <a:p>
            <a:pPr lvl="0"/>
            <a:r>
              <a:rPr lang="en-US" dirty="0"/>
              <a:t>CLICK TO EDITE SUBTIT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81001" y="341314"/>
            <a:ext cx="8368364" cy="495383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3600">
                <a:solidFill>
                  <a:schemeClr val="bg1">
                    <a:lumMod val="50000"/>
                  </a:schemeClr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05779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937465"/>
            <a:ext cx="2057400" cy="187039"/>
          </a:xfrm>
          <a:prstGeom prst="rect">
            <a:avLst/>
          </a:prstGeom>
        </p:spPr>
        <p:txBody>
          <a:bodyPr/>
          <a:lstStyle/>
          <a:p>
            <a:fld id="{654299F2-490A-4689-9798-694CAE1CDFB5}" type="datetime1">
              <a:rPr lang="en-US" smtClean="0"/>
              <a:t>7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937465"/>
            <a:ext cx="3086100" cy="18703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57987" y="4937466"/>
            <a:ext cx="260800" cy="187039"/>
          </a:xfrm>
          <a:prstGeom prst="rect">
            <a:avLst/>
          </a:prstGeom>
        </p:spPr>
        <p:txBody>
          <a:bodyPr/>
          <a:lstStyle/>
          <a:p>
            <a:fld id="{3E3E31EF-75AC-41D4-8B73-7D10C33DAC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513940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5873768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8306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" y="2819400"/>
            <a:ext cx="2962181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089435" y="2819400"/>
            <a:ext cx="2962227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178915" y="2819400"/>
            <a:ext cx="2965086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8864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271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35906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430744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925583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5906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430744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25583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99177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šeli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76056" y="1221600"/>
            <a:ext cx="3888432" cy="2538282"/>
          </a:xfrm>
        </p:spPr>
        <p:txBody>
          <a:bodyPr/>
          <a:lstStyle>
            <a:lvl1pPr marL="0" indent="0" algn="l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lt-LT" dirty="0"/>
              <a:t>Teksta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771800" y="573528"/>
            <a:ext cx="6192688" cy="540060"/>
          </a:xfrm>
          <a:noFill/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none"/>
        </p:style>
        <p:txBody>
          <a:bodyPr>
            <a:normAutofit/>
          </a:bodyPr>
          <a:lstStyle>
            <a:lvl1pPr>
              <a:buNone/>
              <a:defRPr sz="2800" b="0" cap="none" spc="0" baseline="0">
                <a:ln w="18415" cmpd="sng">
                  <a:noFill/>
                  <a:prstDash val="solid"/>
                </a:ln>
                <a:solidFill>
                  <a:schemeClr val="tx1"/>
                </a:solidFill>
                <a:effectLst/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19277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B6E892-BB02-4C54-8DC7-8681D63A16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AE11E59-ABE2-48E9-A7FE-1366959E5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D69752-E6D5-4139-AA79-81622CAC7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2DA659-52CC-4C52-9C6F-F8EAB7371E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0083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riny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39552" y="465516"/>
            <a:ext cx="8229600" cy="3186354"/>
          </a:xfrm>
        </p:spPr>
        <p:txBody>
          <a:bodyPr>
            <a:normAutofit/>
          </a:bodyPr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800" baseline="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lt-LT" dirty="0"/>
              <a:t>Teksta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lt-LT" dirty="0"/>
          </a:p>
          <a:p>
            <a:pPr lvl="0"/>
            <a:endParaRPr lang="lt-LT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635896" y="4515966"/>
            <a:ext cx="5113338" cy="378042"/>
          </a:xfrm>
        </p:spPr>
        <p:txBody>
          <a:bodyPr>
            <a:normAutofit/>
          </a:bodyPr>
          <a:lstStyle>
            <a:lvl1pPr>
              <a:buNone/>
              <a:defRPr sz="1200">
                <a:latin typeface="Myriad Pro" pitchFamily="34" charset="0"/>
              </a:defRPr>
            </a:lvl1pPr>
          </a:lstStyle>
          <a:p>
            <a:pPr lvl="0"/>
            <a:r>
              <a:rPr lang="lt-LT" dirty="0"/>
              <a:t>Tekstas</a:t>
            </a:r>
          </a:p>
        </p:txBody>
      </p:sp>
    </p:spTree>
    <p:extLst>
      <p:ext uri="{BB962C8B-B14F-4D97-AF65-F5344CB8AC3E}">
        <p14:creationId xmlns:p14="http://schemas.microsoft.com/office/powerpoint/2010/main" val="274942589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skutinis lapas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27584" y="3057804"/>
            <a:ext cx="7772400" cy="648072"/>
          </a:xfrm>
        </p:spPr>
        <p:txBody>
          <a:bodyPr anchor="t" anchorCtr="0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Myriad Pro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lt-LT" dirty="0"/>
              <a:t>Teksta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28718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16953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" y="2819400"/>
            <a:ext cx="2962181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089435" y="2819400"/>
            <a:ext cx="2962227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178915" y="2819400"/>
            <a:ext cx="2965086" cy="23241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9747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1994418"/>
            <a:ext cx="2253930" cy="144857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97717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4" y="596"/>
          <a:ext cx="794" cy="5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596"/>
                        <a:ext cx="794" cy="5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935906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430744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925583" y="57245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935906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430744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925583" y="2767788"/>
            <a:ext cx="2253930" cy="119717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35906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430744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5925583" y="2767788"/>
            <a:ext cx="2253930" cy="119717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788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65015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BC739D-475B-43F2-BA59-56D286DCF7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AE4100-C616-480F-8EB8-8AB6B9EE116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8226BD-3A2E-4B69-B5B7-73C18A6788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BF0869-94A4-4107-B411-DFB38A7D8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8A445-4093-4248-AE33-F1598CFD11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76587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76C533F4-4892-7348-AFF7-034C080B7385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/>
          <a:p>
            <a:fld id="{12E5018D-85A7-BA4E-8328-9206894B37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17061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12475" y="481563"/>
            <a:ext cx="8319051" cy="423862"/>
          </a:xfrm>
          <a:prstGeom prst="rect">
            <a:avLst/>
          </a:prstGeom>
        </p:spPr>
        <p:txBody>
          <a:bodyPr vert="horz" lIns="137132" tIns="68567" rIns="137132" bIns="68567" rtlCol="0" anchor="ctr">
            <a:noAutofit/>
          </a:bodyPr>
          <a:lstStyle>
            <a:lvl1pPr algn="ctr">
              <a:defRPr sz="2700" b="0" baseline="0">
                <a:solidFill>
                  <a:schemeClr val="tx2"/>
                </a:solidFill>
                <a:latin typeface="Century Gothic"/>
                <a:ea typeface="Roboto Thin" pitchFamily="2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2327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264">
          <p15:clr>
            <a:srgbClr val="FBAE40"/>
          </p15:clr>
        </p15:guide>
        <p15:guide id="3" pos="741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0AB3E1-6693-43D6-A05B-FA46275F8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FC8B77B-188C-4B39-8D46-93F7D00F1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935F0A-9FCC-482A-A14C-0644A45F94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748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DD9C5A-CB69-483C-95E1-DD11E4591B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57E6F03-BE98-4814-B825-92429198CC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508312-4FFA-4F1B-8682-046C87F5A7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3C8D7C5-DD23-4196-A504-42D09677D9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1E4654-B818-4DF6-8E40-CD00120D5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9051E3-2ACB-484C-BC45-87343E2BAD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1833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DC7BD-B1F0-490C-8F15-6C04BD2CE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2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9991F95-C8DF-4CB2-83BA-8B1BD5B04C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740571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36C671-4EAF-4627-970D-E929F45D7E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2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95490F-C420-4CED-AF7D-02C413104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8D6645-30A2-4DE6-9E07-33796DE11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4AADCC-7E69-416C-B883-EC7EB830B1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792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5" Type="http://schemas.openxmlformats.org/officeDocument/2006/relationships/slideLayout" Target="../slideLayouts/slideLayout2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6EF249-512F-40F9-872F-C8D123F881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273846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1F4C0D-FD8A-4859-B78C-DF7DFB1F61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1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1F8109-C730-4184-931A-29F84305481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C9098B-266F-4442-8905-7F52553C717E}" type="datetimeFigureOut">
              <a:rPr lang="en-US" smtClean="0"/>
              <a:t>7/1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C189F-6D74-4BC2-A425-18E5D6C354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1" y="4767264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DD0CEF-47BC-43CB-81CA-A5516A015E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A7E256-2CAB-4AFB-8B36-3800F8747C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9880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1" r:id="rId15"/>
    <p:sldLayoutId id="2147483808" r:id="rId1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3-07-18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31334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810" r:id="rId9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3-07-18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4104103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4" r:id="rId4"/>
    <p:sldLayoutId id="2147483765" r:id="rId5"/>
    <p:sldLayoutId id="2147483807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9309420-4E88-43D3-B0A8-041E0673F1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IE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2B24B7A6-29B1-47C4-8BA0-95A200E9E4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IE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586A5C3-DEA3-465F-B4EE-AA38FBD00E9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90288B-71D3-4F0D-B6B7-CB2514B9DF72}" type="datetimeFigureOut">
              <a:rPr lang="en-IE" smtClean="0"/>
              <a:t>18/07/2023</a:t>
            </a:fld>
            <a:endParaRPr lang="en-IE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D9839D1B-FBA1-4E63-A7AB-8A3FC12A1F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E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BF08F1A-1ABF-413F-AC2B-F798549B43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199E69-FB30-4A7E-9004-40619BEE9A4A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334019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2" r:id="rId6"/>
    <p:sldLayoutId id="2147483773" r:id="rId7"/>
    <p:sldLayoutId id="2147483774" r:id="rId8"/>
    <p:sldLayoutId id="2147483775" r:id="rId9"/>
    <p:sldLayoutId id="2147483776" r:id="rId10"/>
    <p:sldLayoutId id="2147483777" r:id="rId11"/>
    <p:sldLayoutId id="2147483778" r:id="rId12"/>
    <p:sldLayoutId id="2147483780" r:id="rId13"/>
    <p:sldLayoutId id="2147483781" r:id="rId14"/>
    <p:sldLayoutId id="2147483811" r:id="rId15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3-07-18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688459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A6292C-D345-4753-8820-C6D019E3B898}" type="datetimeFigureOut">
              <a:rPr lang="lt-LT" smtClean="0"/>
              <a:pPr/>
              <a:t>2023-07-18</a:t>
            </a:fld>
            <a:endParaRPr lang="lt-L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8466D9-59F9-4A9A-B2AD-E0AB28166AD8}" type="slidenum">
              <a:rPr lang="lt-LT" smtClean="0"/>
              <a:pPr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530251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hyperlink" Target="mailto:virginijus.bite@mruni.eu" TargetMode="External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15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6" Type="http://schemas.microsoft.com/office/2007/relationships/hdphoto" Target="../media/hdphoto1.wdp"/><Relationship Id="rId5" Type="http://schemas.openxmlformats.org/officeDocument/2006/relationships/image" Target="../media/image17.png"/><Relationship Id="rId10" Type="http://schemas.openxmlformats.org/officeDocument/2006/relationships/image" Target="../media/image20.jpeg"/><Relationship Id="rId4" Type="http://schemas.openxmlformats.org/officeDocument/2006/relationships/image" Target="../media/image16.jpe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22.png"/><Relationship Id="rId5" Type="http://schemas.openxmlformats.org/officeDocument/2006/relationships/image" Target="../media/image15.png"/><Relationship Id="rId4" Type="http://schemas.microsoft.com/office/2007/relationships/hdphoto" Target="../media/hdphoto3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13" Type="http://schemas.openxmlformats.org/officeDocument/2006/relationships/image" Target="../media/image19.png"/><Relationship Id="rId3" Type="http://schemas.openxmlformats.org/officeDocument/2006/relationships/image" Target="../media/image15.png"/><Relationship Id="rId7" Type="http://schemas.openxmlformats.org/officeDocument/2006/relationships/image" Target="../media/image27.svg"/><Relationship Id="rId12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26.png"/><Relationship Id="rId11" Type="http://schemas.openxmlformats.org/officeDocument/2006/relationships/image" Target="../media/image31.png"/><Relationship Id="rId5" Type="http://schemas.openxmlformats.org/officeDocument/2006/relationships/image" Target="../media/image25.sv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svg"/><Relationship Id="rId1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41.emf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920B3A5-031A-ADAD-AE53-CB7511C85C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0329" y="1652114"/>
            <a:ext cx="4652543" cy="1629929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100" b="1" dirty="0">
                <a:solidFill>
                  <a:srgbClr val="000000"/>
                </a:solidFill>
                <a:latin typeface="+mj-lt"/>
              </a:rPr>
              <a:t>Cooperation of NUL and MRU in double/triple master degree on European and International Business Law (EIBL)</a:t>
            </a:r>
            <a:endParaRPr lang="en-LT" sz="2100" dirty="0">
              <a:latin typeface="+mj-lt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F2D585-0892-FC5C-FD8C-9555080E01C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1337" y="4380212"/>
            <a:ext cx="3495056" cy="575931"/>
          </a:xfrm>
        </p:spPr>
        <p:txBody>
          <a:bodyPr/>
          <a:lstStyle/>
          <a:p>
            <a:pPr lvl="0"/>
            <a:r>
              <a:rPr lang="en-US" dirty="0"/>
              <a:t>18 July 2023</a:t>
            </a:r>
            <a:endParaRPr lang="en-LT" dirty="0"/>
          </a:p>
        </p:txBody>
      </p:sp>
      <p:sp>
        <p:nvSpPr>
          <p:cNvPr id="4" name="Text Placeholder 1">
            <a:extLst>
              <a:ext uri="{FF2B5EF4-FFF2-40B4-BE49-F238E27FC236}">
                <a16:creationId xmlns:a16="http://schemas.microsoft.com/office/drawing/2014/main" id="{D159F39A-A64B-2841-444B-6A31981ACD62}"/>
              </a:ext>
            </a:extLst>
          </p:cNvPr>
          <p:cNvSpPr txBox="1">
            <a:spLocks/>
          </p:cNvSpPr>
          <p:nvPr/>
        </p:nvSpPr>
        <p:spPr>
          <a:xfrm>
            <a:off x="360329" y="3255239"/>
            <a:ext cx="3199299" cy="47815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0" indent="0" algn="l" defTabSz="914400" rtl="0" eaLnBrk="1" latinLnBrk="0" hangingPunct="1">
              <a:lnSpc>
                <a:spcPts val="6200"/>
              </a:lnSpc>
              <a:spcBef>
                <a:spcPts val="0"/>
              </a:spcBef>
              <a:buFont typeface="Arial" panose="020B0604020202020204" pitchFamily="34" charset="0"/>
              <a:buNone/>
              <a:defRPr sz="5000" kern="10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lt-LT" sz="1800" dirty="0">
                <a:solidFill>
                  <a:srgbClr val="000000"/>
                </a:solidFill>
                <a:latin typeface="+mj-lt"/>
              </a:rPr>
              <a:t>Prof. dr. Virginijus Bitė</a:t>
            </a:r>
            <a:endParaRPr lang="lt-LT" sz="1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1109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" name="Lorem Ipsum is simply printing and typesetting…"/>
          <p:cNvSpPr txBox="1"/>
          <p:nvPr/>
        </p:nvSpPr>
        <p:spPr>
          <a:xfrm>
            <a:off x="3788592" y="2539432"/>
            <a:ext cx="2795692" cy="173124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r>
              <a:rPr lang="en-GB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Company Law</a:t>
            </a:r>
            <a:endParaRPr lang="lt-LT" sz="14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GB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GB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nt. Tax Law</a:t>
            </a:r>
            <a:endParaRPr lang="lt-LT" sz="14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r>
              <a:rPr lang="en-GB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nt. Banking Law</a:t>
            </a:r>
          </a:p>
          <a:p>
            <a:endParaRPr lang="en-GB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Labour Law</a:t>
            </a:r>
          </a:p>
          <a:p>
            <a:endParaRPr lang="en-GB" sz="10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4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Insolvency Law</a:t>
            </a:r>
            <a:endParaRPr lang="lt-LT" sz="14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E19B3C-5449-4A5E-B5ED-B79E323A7ACC}"/>
              </a:ext>
            </a:extLst>
          </p:cNvPr>
          <p:cNvGrpSpPr/>
          <p:nvPr/>
        </p:nvGrpSpPr>
        <p:grpSpPr>
          <a:xfrm>
            <a:off x="3574906" y="2598976"/>
            <a:ext cx="156918" cy="156917"/>
            <a:chOff x="10588938" y="7176281"/>
            <a:chExt cx="418447" cy="418446"/>
          </a:xfrm>
          <a:solidFill>
            <a:schemeClr val="accent6">
              <a:lumMod val="75000"/>
            </a:schemeClr>
          </a:solidFill>
        </p:grpSpPr>
        <p:sp>
          <p:nvSpPr>
            <p:cNvPr id="1149" name="Circle"/>
            <p:cNvSpPr/>
            <p:nvPr/>
          </p:nvSpPr>
          <p:spPr>
            <a:xfrm>
              <a:off x="10588938" y="7176281"/>
              <a:ext cx="418447" cy="4184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0" name="Graphic 109"/>
            <p:cNvSpPr/>
            <p:nvPr/>
          </p:nvSpPr>
          <p:spPr>
            <a:xfrm>
              <a:off x="10710987" y="7326651"/>
              <a:ext cx="187331" cy="122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863B926B-1135-4981-BD56-6FE08BD159A7}"/>
              </a:ext>
            </a:extLst>
          </p:cNvPr>
          <p:cNvGrpSpPr/>
          <p:nvPr/>
        </p:nvGrpSpPr>
        <p:grpSpPr>
          <a:xfrm>
            <a:off x="3589374" y="2978349"/>
            <a:ext cx="156918" cy="156918"/>
            <a:chOff x="10588938" y="8518966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152" name="Circle"/>
            <p:cNvSpPr/>
            <p:nvPr/>
          </p:nvSpPr>
          <p:spPr>
            <a:xfrm>
              <a:off x="10588938" y="8518966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3" name="Graphic 109"/>
            <p:cNvSpPr/>
            <p:nvPr/>
          </p:nvSpPr>
          <p:spPr>
            <a:xfrm>
              <a:off x="10710987" y="8669337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A16B916-591F-47ED-A254-D0CA727E2EFB}"/>
              </a:ext>
            </a:extLst>
          </p:cNvPr>
          <p:cNvGrpSpPr/>
          <p:nvPr/>
        </p:nvGrpSpPr>
        <p:grpSpPr>
          <a:xfrm>
            <a:off x="3586941" y="3337444"/>
            <a:ext cx="156918" cy="156918"/>
            <a:chOff x="10588938" y="9838204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155" name="Circle"/>
            <p:cNvSpPr/>
            <p:nvPr/>
          </p:nvSpPr>
          <p:spPr>
            <a:xfrm>
              <a:off x="10588938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56" name="Graphic 109"/>
            <p:cNvSpPr/>
            <p:nvPr/>
          </p:nvSpPr>
          <p:spPr>
            <a:xfrm>
              <a:off x="10710987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182" name="Lorem Ipsum is simply printing and typesetting…"/>
          <p:cNvSpPr txBox="1"/>
          <p:nvPr/>
        </p:nvSpPr>
        <p:spPr>
          <a:xfrm>
            <a:off x="6830669" y="2577264"/>
            <a:ext cx="2057872" cy="17004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Defense of Master thesis</a:t>
            </a: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400" i="1" dirty="0">
                <a:solidFill>
                  <a:srgbClr val="C00000"/>
                </a:solidFill>
                <a:latin typeface="Century Gothic" panose="020B0502020202020204" pitchFamily="34" charset="0"/>
              </a:rPr>
              <a:t>Optional</a:t>
            </a:r>
            <a:r>
              <a:rPr lang="en-US" sz="1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: Erasmus+ studies/internship</a:t>
            </a: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4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2ED37C6-C10D-4088-A3F5-3C31A1A19B82}"/>
              </a:ext>
            </a:extLst>
          </p:cNvPr>
          <p:cNvGrpSpPr/>
          <p:nvPr/>
        </p:nvGrpSpPr>
        <p:grpSpPr>
          <a:xfrm>
            <a:off x="6629017" y="2656581"/>
            <a:ext cx="156918" cy="156917"/>
            <a:chOff x="19206409" y="7176281"/>
            <a:chExt cx="418447" cy="418446"/>
          </a:xfrm>
          <a:solidFill>
            <a:srgbClr val="C00000"/>
          </a:solidFill>
        </p:grpSpPr>
        <p:sp>
          <p:nvSpPr>
            <p:cNvPr id="1183" name="Circle"/>
            <p:cNvSpPr/>
            <p:nvPr/>
          </p:nvSpPr>
          <p:spPr>
            <a:xfrm>
              <a:off x="19206409" y="7176281"/>
              <a:ext cx="418447" cy="4184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4" name="Graphic 109"/>
            <p:cNvSpPr/>
            <p:nvPr/>
          </p:nvSpPr>
          <p:spPr>
            <a:xfrm>
              <a:off x="19328458" y="7326651"/>
              <a:ext cx="187331" cy="122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6B37CE9-44C5-487E-83E8-4ACCF460D572}"/>
              </a:ext>
            </a:extLst>
          </p:cNvPr>
          <p:cNvGrpSpPr/>
          <p:nvPr/>
        </p:nvGrpSpPr>
        <p:grpSpPr>
          <a:xfrm>
            <a:off x="6629017" y="3245722"/>
            <a:ext cx="156918" cy="156918"/>
            <a:chOff x="19206409" y="8518966"/>
            <a:chExt cx="418447" cy="418447"/>
          </a:xfrm>
          <a:solidFill>
            <a:srgbClr val="C00000"/>
          </a:solidFill>
        </p:grpSpPr>
        <p:sp>
          <p:nvSpPr>
            <p:cNvPr id="1186" name="Circle"/>
            <p:cNvSpPr/>
            <p:nvPr/>
          </p:nvSpPr>
          <p:spPr>
            <a:xfrm>
              <a:off x="19206409" y="8518966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7" name="Graphic 109"/>
            <p:cNvSpPr/>
            <p:nvPr/>
          </p:nvSpPr>
          <p:spPr>
            <a:xfrm>
              <a:off x="19328458" y="8669337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1113" name="Lorem Ipsum is simply printing and typesetting…"/>
          <p:cNvSpPr txBox="1"/>
          <p:nvPr/>
        </p:nvSpPr>
        <p:spPr>
          <a:xfrm>
            <a:off x="746063" y="2550031"/>
            <a:ext cx="2580415" cy="156196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GB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. Trade and Investment Law</a:t>
            </a:r>
            <a:endParaRPr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1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. Intellectual Property Law</a:t>
            </a:r>
            <a:endParaRPr sz="14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algn="l"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US" sz="9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GB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. Contract Law</a:t>
            </a: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endParaRPr lang="en-GB" sz="1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GB" sz="14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ernship, etc.</a:t>
            </a:r>
            <a:endParaRPr lang="lt-LT" sz="1400" b="1" dirty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00D-0FD3-4142-A5BE-A7FDD887EF7C}"/>
              </a:ext>
            </a:extLst>
          </p:cNvPr>
          <p:cNvGrpSpPr/>
          <p:nvPr/>
        </p:nvGrpSpPr>
        <p:grpSpPr>
          <a:xfrm>
            <a:off x="546778" y="3514383"/>
            <a:ext cx="156918" cy="156918"/>
            <a:chOff x="1971467" y="9838204"/>
            <a:chExt cx="418447" cy="418447"/>
          </a:xfrm>
          <a:solidFill>
            <a:schemeClr val="tx2"/>
          </a:solidFill>
        </p:grpSpPr>
        <p:sp>
          <p:nvSpPr>
            <p:cNvPr id="1120" name="Circle"/>
            <p:cNvSpPr/>
            <p:nvPr/>
          </p:nvSpPr>
          <p:spPr>
            <a:xfrm>
              <a:off x="1971467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1" name="Graphic 109"/>
            <p:cNvSpPr/>
            <p:nvPr/>
          </p:nvSpPr>
          <p:spPr>
            <a:xfrm>
              <a:off x="2093516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E82F5B76-BF59-4D21-8EA5-66E16C59637D}"/>
              </a:ext>
            </a:extLst>
          </p:cNvPr>
          <p:cNvGrpSpPr/>
          <p:nvPr/>
        </p:nvGrpSpPr>
        <p:grpSpPr>
          <a:xfrm>
            <a:off x="551495" y="3174096"/>
            <a:ext cx="156918" cy="156918"/>
            <a:chOff x="1971467" y="8518966"/>
            <a:chExt cx="418447" cy="418447"/>
          </a:xfrm>
          <a:solidFill>
            <a:schemeClr val="tx2"/>
          </a:solidFill>
        </p:grpSpPr>
        <p:sp>
          <p:nvSpPr>
            <p:cNvPr id="1117" name="Circle"/>
            <p:cNvSpPr/>
            <p:nvPr/>
          </p:nvSpPr>
          <p:spPr>
            <a:xfrm>
              <a:off x="1971467" y="8518966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18" name="Graphic 109"/>
            <p:cNvSpPr/>
            <p:nvPr/>
          </p:nvSpPr>
          <p:spPr>
            <a:xfrm>
              <a:off x="2093516" y="8669337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13C02A4D-AEC4-4D36-8020-087C31684906}"/>
              </a:ext>
            </a:extLst>
          </p:cNvPr>
          <p:cNvGrpSpPr/>
          <p:nvPr/>
        </p:nvGrpSpPr>
        <p:grpSpPr>
          <a:xfrm>
            <a:off x="551495" y="2608837"/>
            <a:ext cx="156918" cy="156917"/>
            <a:chOff x="1971467" y="7176281"/>
            <a:chExt cx="418447" cy="418446"/>
          </a:xfrm>
          <a:solidFill>
            <a:schemeClr val="tx2"/>
          </a:solidFill>
        </p:grpSpPr>
        <p:sp>
          <p:nvSpPr>
            <p:cNvPr id="1114" name="Circle"/>
            <p:cNvSpPr/>
            <p:nvPr/>
          </p:nvSpPr>
          <p:spPr>
            <a:xfrm>
              <a:off x="1971467" y="7176281"/>
              <a:ext cx="418447" cy="418446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15" name="Graphic 109"/>
            <p:cNvSpPr/>
            <p:nvPr/>
          </p:nvSpPr>
          <p:spPr>
            <a:xfrm>
              <a:off x="2093516" y="7326651"/>
              <a:ext cx="187331" cy="12256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511804-6FDD-447E-B2BA-2C796388294B}"/>
              </a:ext>
            </a:extLst>
          </p:cNvPr>
          <p:cNvGrpSpPr/>
          <p:nvPr/>
        </p:nvGrpSpPr>
        <p:grpSpPr>
          <a:xfrm>
            <a:off x="6584285" y="1906672"/>
            <a:ext cx="2304256" cy="572225"/>
            <a:chOff x="18680334" y="3603875"/>
            <a:chExt cx="3948793" cy="3020176"/>
          </a:xfrm>
        </p:grpSpPr>
        <p:sp>
          <p:nvSpPr>
            <p:cNvPr id="1177" name="Rounded Rectangle"/>
            <p:cNvSpPr/>
            <p:nvPr/>
          </p:nvSpPr>
          <p:spPr>
            <a:xfrm>
              <a:off x="18680334" y="3603875"/>
              <a:ext cx="3948793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78" name="Rounded Rectangle"/>
            <p:cNvSpPr/>
            <p:nvPr/>
          </p:nvSpPr>
          <p:spPr>
            <a:xfrm>
              <a:off x="18911578" y="3985518"/>
              <a:ext cx="3486303" cy="2196335"/>
            </a:xfrm>
            <a:prstGeom prst="roundRect">
              <a:avLst>
                <a:gd name="adj" fmla="val 30272"/>
              </a:avLst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79" name="17:00"/>
            <p:cNvSpPr txBox="1"/>
            <p:nvPr/>
          </p:nvSpPr>
          <p:spPr>
            <a:xfrm>
              <a:off x="19811282" y="4199223"/>
              <a:ext cx="2353236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4 semester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1" name="Triangle"/>
            <p:cNvSpPr/>
            <p:nvPr/>
          </p:nvSpPr>
          <p:spPr>
            <a:xfrm rot="13500000">
              <a:off x="21987016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2189D92-5A3D-4F60-AF1F-E4C2FF767F62}"/>
              </a:ext>
            </a:extLst>
          </p:cNvPr>
          <p:cNvGrpSpPr/>
          <p:nvPr/>
        </p:nvGrpSpPr>
        <p:grpSpPr>
          <a:xfrm>
            <a:off x="3569829" y="1889979"/>
            <a:ext cx="2304256" cy="572225"/>
            <a:chOff x="10208000" y="3603875"/>
            <a:chExt cx="3948793" cy="3020176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7F9FABF-D6CC-42E3-8A58-4D2A1A91E789}"/>
                </a:ext>
              </a:extLst>
            </p:cNvPr>
            <p:cNvGrpSpPr/>
            <p:nvPr/>
          </p:nvGrpSpPr>
          <p:grpSpPr>
            <a:xfrm>
              <a:off x="10208000" y="3603875"/>
              <a:ext cx="3948793" cy="3020176"/>
              <a:chOff x="10208000" y="3603875"/>
              <a:chExt cx="3948793" cy="3020176"/>
            </a:xfrm>
          </p:grpSpPr>
          <p:sp>
            <p:nvSpPr>
              <p:cNvPr id="1143" name="Rounded Rectangle"/>
              <p:cNvSpPr/>
              <p:nvPr/>
            </p:nvSpPr>
            <p:spPr>
              <a:xfrm>
                <a:off x="10208000" y="3603875"/>
                <a:ext cx="3948793" cy="3020176"/>
              </a:xfrm>
              <a:prstGeom prst="roundRect">
                <a:avLst>
                  <a:gd name="adj" fmla="val 12724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>
                <a:outerShdw blurRad="342900" dist="25400" dir="5400000" rotWithShape="0">
                  <a:srgbClr val="000000">
                    <a:alpha val="15000"/>
                  </a:srgbClr>
                </a:outerShdw>
              </a:effectLst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4" name="Rounded Rectangle"/>
              <p:cNvSpPr/>
              <p:nvPr/>
            </p:nvSpPr>
            <p:spPr>
              <a:xfrm>
                <a:off x="10439244" y="3923376"/>
                <a:ext cx="3486303" cy="2258478"/>
              </a:xfrm>
              <a:prstGeom prst="roundRect">
                <a:avLst>
                  <a:gd name="adj" fmla="val 30272"/>
                </a:avLst>
              </a:prstGeom>
              <a:solidFill>
                <a:schemeClr val="accent6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12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7" name="Triangle"/>
              <p:cNvSpPr/>
              <p:nvPr/>
            </p:nvSpPr>
            <p:spPr>
              <a:xfrm rot="13500000">
                <a:off x="13522618" y="4125141"/>
                <a:ext cx="148149" cy="1481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1145" name="14:00"/>
            <p:cNvSpPr txBox="1"/>
            <p:nvPr/>
          </p:nvSpPr>
          <p:spPr>
            <a:xfrm>
              <a:off x="11160765" y="4137080"/>
              <a:ext cx="2353236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latin typeface="Century Gothic" panose="020B0502020202020204" pitchFamily="34" charset="0"/>
                </a:rPr>
                <a:t>3 semester</a:t>
              </a:r>
              <a:endParaRPr sz="1600" b="1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B920FD1-012B-421E-A780-4D81D1CE2C3B}"/>
              </a:ext>
            </a:extLst>
          </p:cNvPr>
          <p:cNvGrpSpPr/>
          <p:nvPr/>
        </p:nvGrpSpPr>
        <p:grpSpPr>
          <a:xfrm>
            <a:off x="555375" y="1888717"/>
            <a:ext cx="2304256" cy="572225"/>
            <a:chOff x="1735666" y="3603875"/>
            <a:chExt cx="3948794" cy="3020176"/>
          </a:xfrm>
        </p:grpSpPr>
        <p:sp>
          <p:nvSpPr>
            <p:cNvPr id="1109" name="Rounded Rectangle"/>
            <p:cNvSpPr/>
            <p:nvPr/>
          </p:nvSpPr>
          <p:spPr>
            <a:xfrm>
              <a:off x="1735666" y="3603875"/>
              <a:ext cx="3948794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0" name="Rounded Rectangle"/>
            <p:cNvSpPr/>
            <p:nvPr/>
          </p:nvSpPr>
          <p:spPr>
            <a:xfrm>
              <a:off x="1966910" y="3985518"/>
              <a:ext cx="3486303" cy="2258478"/>
            </a:xfrm>
            <a:prstGeom prst="roundRect">
              <a:avLst>
                <a:gd name="adj" fmla="val 30272"/>
              </a:avLst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4" name="Triangle"/>
            <p:cNvSpPr/>
            <p:nvPr/>
          </p:nvSpPr>
          <p:spPr>
            <a:xfrm rot="13500000">
              <a:off x="5045521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1" name="9:00"/>
            <p:cNvSpPr txBox="1"/>
            <p:nvPr/>
          </p:nvSpPr>
          <p:spPr>
            <a:xfrm>
              <a:off x="2413205" y="4290183"/>
              <a:ext cx="2637004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1-2 semesters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90" name="Daily Plan">
            <a:extLst>
              <a:ext uri="{FF2B5EF4-FFF2-40B4-BE49-F238E27FC236}">
                <a16:creationId xmlns:a16="http://schemas.microsoft.com/office/drawing/2014/main" id="{E1199566-1F01-DE4F-9C81-900ECB96BC6C}"/>
              </a:ext>
            </a:extLst>
          </p:cNvPr>
          <p:cNvSpPr txBox="1"/>
          <p:nvPr/>
        </p:nvSpPr>
        <p:spPr>
          <a:xfrm>
            <a:off x="-108520" y="67282"/>
            <a:ext cx="9144000" cy="384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>
            <a:spAutoFit/>
          </a:bodyPr>
          <a:lstStyle>
            <a:lvl1pPr algn="l">
              <a:defRPr sz="6000" b="0">
                <a:solidFill>
                  <a:srgbClr val="221903"/>
                </a:solidFill>
                <a:latin typeface="Poppins SemiBold"/>
                <a:ea typeface="Poppins SemiBold"/>
                <a:cs typeface="Poppins SemiBold"/>
                <a:sym typeface="Poppins SemiBold"/>
              </a:defRPr>
            </a:lvl1pPr>
          </a:lstStyle>
          <a:p>
            <a:pPr algn="ctr"/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European and International Business Law (</a:t>
            </a:r>
            <a:r>
              <a:rPr lang="en-US" sz="22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2 diplomas</a:t>
            </a:r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sz="225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98" name="Group 97">
            <a:extLst>
              <a:ext uri="{FF2B5EF4-FFF2-40B4-BE49-F238E27FC236}">
                <a16:creationId xmlns:a16="http://schemas.microsoft.com/office/drawing/2014/main" id="{DB3DA5D2-598E-44B4-88CA-A145D8AE7FC3}"/>
              </a:ext>
            </a:extLst>
          </p:cNvPr>
          <p:cNvGrpSpPr/>
          <p:nvPr/>
        </p:nvGrpSpPr>
        <p:grpSpPr>
          <a:xfrm>
            <a:off x="531581" y="3897654"/>
            <a:ext cx="156918" cy="156918"/>
            <a:chOff x="1971467" y="9838204"/>
            <a:chExt cx="418447" cy="418447"/>
          </a:xfrm>
          <a:solidFill>
            <a:schemeClr val="tx2"/>
          </a:solidFill>
        </p:grpSpPr>
        <p:sp>
          <p:nvSpPr>
            <p:cNvPr id="99" name="Circle">
              <a:extLst>
                <a:ext uri="{FF2B5EF4-FFF2-40B4-BE49-F238E27FC236}">
                  <a16:creationId xmlns:a16="http://schemas.microsoft.com/office/drawing/2014/main" id="{DD2F00C1-7B32-425C-8D78-6B2D78B8ED9D}"/>
                </a:ext>
              </a:extLst>
            </p:cNvPr>
            <p:cNvSpPr/>
            <p:nvPr/>
          </p:nvSpPr>
          <p:spPr>
            <a:xfrm>
              <a:off x="1971467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0" name="Graphic 109">
              <a:extLst>
                <a:ext uri="{FF2B5EF4-FFF2-40B4-BE49-F238E27FC236}">
                  <a16:creationId xmlns:a16="http://schemas.microsoft.com/office/drawing/2014/main" id="{1CBBF63E-1009-4D17-8EFA-A2AAFB05379B}"/>
                </a:ext>
              </a:extLst>
            </p:cNvPr>
            <p:cNvSpPr/>
            <p:nvPr/>
          </p:nvSpPr>
          <p:spPr>
            <a:xfrm>
              <a:off x="2093516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D377BAE5-1580-4975-B5BA-F8EC854BE697}"/>
              </a:ext>
            </a:extLst>
          </p:cNvPr>
          <p:cNvGrpSpPr/>
          <p:nvPr/>
        </p:nvGrpSpPr>
        <p:grpSpPr>
          <a:xfrm>
            <a:off x="3569829" y="3696539"/>
            <a:ext cx="156918" cy="156918"/>
            <a:chOff x="10588938" y="9838204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03" name="Circle">
              <a:extLst>
                <a:ext uri="{FF2B5EF4-FFF2-40B4-BE49-F238E27FC236}">
                  <a16:creationId xmlns:a16="http://schemas.microsoft.com/office/drawing/2014/main" id="{33E3C951-54FF-4168-813D-D7B1C1498C20}"/>
                </a:ext>
              </a:extLst>
            </p:cNvPr>
            <p:cNvSpPr/>
            <p:nvPr/>
          </p:nvSpPr>
          <p:spPr>
            <a:xfrm>
              <a:off x="10588938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4" name="Graphic 109">
              <a:extLst>
                <a:ext uri="{FF2B5EF4-FFF2-40B4-BE49-F238E27FC236}">
                  <a16:creationId xmlns:a16="http://schemas.microsoft.com/office/drawing/2014/main" id="{73A75778-9482-4148-A99E-56E93CAE54FE}"/>
                </a:ext>
              </a:extLst>
            </p:cNvPr>
            <p:cNvSpPr/>
            <p:nvPr/>
          </p:nvSpPr>
          <p:spPr>
            <a:xfrm>
              <a:off x="10710987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F2D5542-1295-4EF3-AF57-4279E5FC6DFE}"/>
              </a:ext>
            </a:extLst>
          </p:cNvPr>
          <p:cNvGrpSpPr/>
          <p:nvPr/>
        </p:nvGrpSpPr>
        <p:grpSpPr>
          <a:xfrm>
            <a:off x="3575418" y="4054572"/>
            <a:ext cx="156918" cy="156918"/>
            <a:chOff x="10588938" y="9838204"/>
            <a:chExt cx="418447" cy="418447"/>
          </a:xfrm>
          <a:solidFill>
            <a:schemeClr val="accent6">
              <a:lumMod val="75000"/>
            </a:schemeClr>
          </a:solidFill>
        </p:grpSpPr>
        <p:sp>
          <p:nvSpPr>
            <p:cNvPr id="106" name="Circle">
              <a:extLst>
                <a:ext uri="{FF2B5EF4-FFF2-40B4-BE49-F238E27FC236}">
                  <a16:creationId xmlns:a16="http://schemas.microsoft.com/office/drawing/2014/main" id="{09DF3E7E-969A-422E-A785-82D005276703}"/>
                </a:ext>
              </a:extLst>
            </p:cNvPr>
            <p:cNvSpPr/>
            <p:nvPr/>
          </p:nvSpPr>
          <p:spPr>
            <a:xfrm>
              <a:off x="10588938" y="9838204"/>
              <a:ext cx="418447" cy="418447"/>
            </a:xfrm>
            <a:prstGeom prst="ellipse">
              <a:avLst/>
            </a:prstGeom>
            <a:grpFill/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07" name="Graphic 109">
              <a:extLst>
                <a:ext uri="{FF2B5EF4-FFF2-40B4-BE49-F238E27FC236}">
                  <a16:creationId xmlns:a16="http://schemas.microsoft.com/office/drawing/2014/main" id="{093C7411-C1B0-4814-B960-212C4262AFB6}"/>
                </a:ext>
              </a:extLst>
            </p:cNvPr>
            <p:cNvSpPr/>
            <p:nvPr/>
          </p:nvSpPr>
          <p:spPr>
            <a:xfrm>
              <a:off x="10710987" y="9988575"/>
              <a:ext cx="187331" cy="122562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5" h="21167" extrusionOk="0">
                  <a:moveTo>
                    <a:pt x="7797" y="20518"/>
                  </a:moveTo>
                  <a:lnTo>
                    <a:pt x="428" y="9332"/>
                  </a:lnTo>
                  <a:cubicBezTo>
                    <a:pt x="-143" y="8466"/>
                    <a:pt x="-143" y="7062"/>
                    <a:pt x="428" y="6195"/>
                  </a:cubicBezTo>
                  <a:cubicBezTo>
                    <a:pt x="998" y="5329"/>
                    <a:pt x="1923" y="5329"/>
                    <a:pt x="2494" y="6195"/>
                  </a:cubicBezTo>
                  <a:lnTo>
                    <a:pt x="8830" y="15813"/>
                  </a:lnTo>
                  <a:lnTo>
                    <a:pt x="18820" y="650"/>
                  </a:lnTo>
                  <a:cubicBezTo>
                    <a:pt x="19391" y="-216"/>
                    <a:pt x="20316" y="-216"/>
                    <a:pt x="20886" y="650"/>
                  </a:cubicBezTo>
                  <a:cubicBezTo>
                    <a:pt x="21457" y="1516"/>
                    <a:pt x="21457" y="2920"/>
                    <a:pt x="20886" y="3786"/>
                  </a:cubicBezTo>
                  <a:lnTo>
                    <a:pt x="9863" y="20518"/>
                  </a:lnTo>
                  <a:cubicBezTo>
                    <a:pt x="9293" y="21384"/>
                    <a:pt x="8368" y="21384"/>
                    <a:pt x="7797" y="20518"/>
                  </a:cubicBezTo>
                  <a:close/>
                </a:path>
              </a:pathLst>
            </a:custGeom>
            <a:grpFill/>
            <a:ln w="12700" cap="flat">
              <a:noFill/>
              <a:miter lim="400000"/>
            </a:ln>
            <a:effectLst/>
          </p:spPr>
          <p:txBody>
            <a:bodyPr wrap="square" lIns="17145" tIns="17145" rIns="17145" bIns="17145" numCol="1" anchor="ctr">
              <a:noAutofit/>
            </a:bodyPr>
            <a:lstStyle/>
            <a:p>
              <a:pPr defTabSz="342892">
                <a:defRPr sz="1800" b="0">
                  <a:latin typeface="Calibri"/>
                  <a:ea typeface="Calibri"/>
                  <a:cs typeface="Calibri"/>
                  <a:sym typeface="Calibri"/>
                </a:defRPr>
              </a:pPr>
              <a:endParaRPr sz="675" dirty="0">
                <a:latin typeface="Century Gothic" panose="020B0502020202020204" pitchFamily="34" charset="0"/>
              </a:endParaRPr>
            </a:p>
          </p:txBody>
        </p:sp>
      </p:grpSp>
      <p:pic>
        <p:nvPicPr>
          <p:cNvPr id="61" name="Picture 2">
            <a:extLst>
              <a:ext uri="{FF2B5EF4-FFF2-40B4-BE49-F238E27FC236}">
                <a16:creationId xmlns:a16="http://schemas.microsoft.com/office/drawing/2014/main" id="{11CED3AF-484B-2063-CB48-A2E3CFD0873E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50741" y="614447"/>
            <a:ext cx="1100979" cy="1126374"/>
          </a:xfrm>
          <a:prstGeom prst="rect">
            <a:avLst/>
          </a:prstGeom>
          <a:noFill/>
        </p:spPr>
      </p:pic>
      <p:pic>
        <p:nvPicPr>
          <p:cNvPr id="2" name="image6.png">
            <a:extLst>
              <a:ext uri="{FF2B5EF4-FFF2-40B4-BE49-F238E27FC236}">
                <a16:creationId xmlns:a16="http://schemas.microsoft.com/office/drawing/2014/main" id="{EA283439-B44E-F07F-BF33-81A7C376EF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548" y="790349"/>
            <a:ext cx="1661447" cy="583484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image6.png">
            <a:extLst>
              <a:ext uri="{FF2B5EF4-FFF2-40B4-BE49-F238E27FC236}">
                <a16:creationId xmlns:a16="http://schemas.microsoft.com/office/drawing/2014/main" id="{CDA45518-EE11-DF8A-2D35-31360B0A28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0668" y="788762"/>
            <a:ext cx="1661447" cy="58348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4.07407E-6 " pathEditMode="relative" rAng="0" ptsTypes="AA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-1.11111E-6 " pathEditMode="relative" rAng="0" ptsTypes="AA">
                                      <p:cBhvr>
                                        <p:cTn id="18" dur="8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3.51852E-6 " pathEditMode="relative" rAng="0" ptsTypes="AA">
                                      <p:cBhvr>
                                        <p:cTn id="23" dur="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97917E-6 -0.25 L 1.97917E-6 3.51852E-6 " pathEditMode="relative" rAng="0" ptsTypes="AA">
                                      <p:cBhvr>
                                        <p:cTn id="28" dur="6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1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3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4.07407E-6 " pathEditMode="relative" rAng="0" ptsTypes="AA">
                                      <p:cBhvr>
                                        <p:cTn id="4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-1.11111E-6 " pathEditMode="relative" rAng="0" ptsTypes="AA">
                                      <p:cBhvr>
                                        <p:cTn id="4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3.51852E-6 " pathEditMode="relative" rAng="0" ptsTypes="AA">
                                      <p:cBhvr>
                                        <p:cTn id="51" dur="6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3.51852E-6 " pathEditMode="relative" rAng="0" ptsTypes="AA">
                                      <p:cBhvr>
                                        <p:cTn id="56" dur="6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1.45833E-6 -0.25 L 1.45833E-6 3.51852E-6 " pathEditMode="relative" rAng="0" ptsTypes="AA">
                                      <p:cBhvr>
                                        <p:cTn id="61" dur="6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1000"/>
                                        <p:tgtEl>
                                          <p:spTgt spid="1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6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3.05556E-6 -0.25 L 3.05556E-6 -1.48148E-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42" presetClass="path" presetSubtype="0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Motion origin="layout" path="M -3.95833E-6 -0.25 L -3.95833E-6 -1.11111E-6 " pathEditMode="relative" rAng="0" ptsTypes="AA">
                                      <p:cBhvr>
                                        <p:cTn id="7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500"/>
                                    </p:animMotion>
                                  </p:childTnLst>
                                </p:cTn>
                              </p:par>
                              <p:par>
                                <p:cTn id="80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2" dur="1000"/>
                                        <p:tgtEl>
                                          <p:spTgt spid="1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8" grpId="0"/>
      <p:bldP spid="1182" grpId="0"/>
      <p:bldP spid="111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8" name="Lorem Ipsum is simply printing and typesetting…"/>
          <p:cNvSpPr txBox="1"/>
          <p:nvPr/>
        </p:nvSpPr>
        <p:spPr>
          <a:xfrm>
            <a:off x="3553720" y="2342282"/>
            <a:ext cx="2771103" cy="215443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Company Law</a:t>
            </a: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nt. Tax Law</a:t>
            </a:r>
            <a:endParaRPr lang="en-US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nt. Banking Law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Labour Law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Insolvency Law</a:t>
            </a: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Eur. and Int. Competition Law</a:t>
            </a: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ndustrial Property Law</a:t>
            </a: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Int. Commercial Litigation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French Language</a:t>
            </a:r>
            <a:endParaRPr lang="en-GB" sz="1300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43" indent="-285743">
              <a:spcBef>
                <a:spcPts val="100"/>
              </a:spcBef>
              <a:buFont typeface="Wingdings" panose="05000000000000000000" pitchFamily="2" charset="2"/>
              <a:buChar char="q"/>
            </a:pPr>
            <a:r>
              <a:rPr lang="en-GB" sz="1300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Master Thesis Writing</a:t>
            </a:r>
          </a:p>
        </p:txBody>
      </p:sp>
      <p:sp>
        <p:nvSpPr>
          <p:cNvPr id="1182" name="Lorem Ipsum is simply printing and typesetting…"/>
          <p:cNvSpPr txBox="1"/>
          <p:nvPr/>
        </p:nvSpPr>
        <p:spPr>
          <a:xfrm>
            <a:off x="6437798" y="2304933"/>
            <a:ext cx="2444332" cy="263918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Comp. Contract Law and Econ. Analysis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Int. Transport Law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Spec. Contracts of Int. Business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Econ. Integration of the EU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Eur. and Int. Principles of Contract Law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Cont. Issues of Int. Business Law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French Language</a:t>
            </a: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Internship (Erasmus+)</a:t>
            </a:r>
            <a:endParaRPr sz="13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  <a:p>
            <a:pPr marL="285743" indent="-285743"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Defense of Master thesis</a:t>
            </a:r>
          </a:p>
        </p:txBody>
      </p:sp>
      <p:sp>
        <p:nvSpPr>
          <p:cNvPr id="1113" name="Lorem Ipsum is simply printing and typesetting…"/>
          <p:cNvSpPr txBox="1"/>
          <p:nvPr/>
        </p:nvSpPr>
        <p:spPr>
          <a:xfrm>
            <a:off x="555374" y="2320377"/>
            <a:ext cx="2771103" cy="10695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 numCol="1" anchor="t">
            <a:spAutoFit/>
          </a:bodyPr>
          <a:lstStyle/>
          <a:p>
            <a:pPr marL="285743" indent="-285743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. Trade and Investment Law</a:t>
            </a:r>
          </a:p>
          <a:p>
            <a:pPr marL="285743" indent="-285743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US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. Intellectual Property Law</a:t>
            </a:r>
          </a:p>
          <a:p>
            <a:pPr marL="285743" indent="-285743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GB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. Contract Law</a:t>
            </a:r>
            <a:endParaRPr lang="en-US" sz="13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85743" indent="-285743">
              <a:spcBef>
                <a:spcPts val="600"/>
              </a:spcBef>
              <a:buFont typeface="Wingdings" panose="05000000000000000000" pitchFamily="2" charset="2"/>
              <a:buChar char="q"/>
              <a:defRPr sz="2200" b="0">
                <a:solidFill>
                  <a:srgbClr val="ADADB3"/>
                </a:solidFill>
                <a:latin typeface="Poppins Medium"/>
                <a:ea typeface="Poppins Medium"/>
                <a:cs typeface="Poppins Medium"/>
                <a:sym typeface="Poppins Medium"/>
              </a:defRPr>
            </a:pPr>
            <a:r>
              <a:rPr lang="en-GB" sz="1300" b="1" dirty="0">
                <a:solidFill>
                  <a:schemeClr val="tx2"/>
                </a:solidFill>
                <a:latin typeface="Century Gothic" panose="020B0502020202020204" pitchFamily="34" charset="0"/>
              </a:rPr>
              <a:t>Internship, etc.</a:t>
            </a:r>
            <a:endParaRPr lang="lt-LT" sz="1300" b="1" dirty="0">
              <a:solidFill>
                <a:schemeClr val="tx2"/>
              </a:solidFill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2511804-6FDD-447E-B2BA-2C796388294B}"/>
              </a:ext>
            </a:extLst>
          </p:cNvPr>
          <p:cNvGrpSpPr/>
          <p:nvPr/>
        </p:nvGrpSpPr>
        <p:grpSpPr>
          <a:xfrm>
            <a:off x="6507837" y="1655447"/>
            <a:ext cx="2304256" cy="572225"/>
            <a:chOff x="18680334" y="3603875"/>
            <a:chExt cx="3948793" cy="3020176"/>
          </a:xfrm>
        </p:grpSpPr>
        <p:sp>
          <p:nvSpPr>
            <p:cNvPr id="1177" name="Rounded Rectangle"/>
            <p:cNvSpPr/>
            <p:nvPr/>
          </p:nvSpPr>
          <p:spPr>
            <a:xfrm>
              <a:off x="18680334" y="3603875"/>
              <a:ext cx="3948793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78" name="Rounded Rectangle"/>
            <p:cNvSpPr/>
            <p:nvPr/>
          </p:nvSpPr>
          <p:spPr>
            <a:xfrm>
              <a:off x="18911578" y="3985518"/>
              <a:ext cx="3486303" cy="2196335"/>
            </a:xfrm>
            <a:prstGeom prst="roundRect">
              <a:avLst>
                <a:gd name="adj" fmla="val 30272"/>
              </a:avLst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79" name="17:00"/>
            <p:cNvSpPr txBox="1"/>
            <p:nvPr/>
          </p:nvSpPr>
          <p:spPr>
            <a:xfrm>
              <a:off x="19537307" y="4232722"/>
              <a:ext cx="2454397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5-6 semesters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81" name="Triangle"/>
            <p:cNvSpPr/>
            <p:nvPr/>
          </p:nvSpPr>
          <p:spPr>
            <a:xfrm rot="13500000">
              <a:off x="21987016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02189D92-5A3D-4F60-AF1F-E4C2FF767F62}"/>
              </a:ext>
            </a:extLst>
          </p:cNvPr>
          <p:cNvGrpSpPr/>
          <p:nvPr/>
        </p:nvGrpSpPr>
        <p:grpSpPr>
          <a:xfrm>
            <a:off x="3553719" y="1655448"/>
            <a:ext cx="2304256" cy="572225"/>
            <a:chOff x="10208000" y="3603875"/>
            <a:chExt cx="3948793" cy="3020176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7F9FABF-D6CC-42E3-8A58-4D2A1A91E789}"/>
                </a:ext>
              </a:extLst>
            </p:cNvPr>
            <p:cNvGrpSpPr/>
            <p:nvPr/>
          </p:nvGrpSpPr>
          <p:grpSpPr>
            <a:xfrm>
              <a:off x="10208000" y="3603875"/>
              <a:ext cx="3948793" cy="3020176"/>
              <a:chOff x="10208000" y="3603875"/>
              <a:chExt cx="3948793" cy="3020176"/>
            </a:xfrm>
          </p:grpSpPr>
          <p:sp>
            <p:nvSpPr>
              <p:cNvPr id="1143" name="Rounded Rectangle"/>
              <p:cNvSpPr/>
              <p:nvPr/>
            </p:nvSpPr>
            <p:spPr>
              <a:xfrm>
                <a:off x="10208000" y="3603875"/>
                <a:ext cx="3948793" cy="3020176"/>
              </a:xfrm>
              <a:prstGeom prst="roundRect">
                <a:avLst>
                  <a:gd name="adj" fmla="val 12724"/>
                </a:avLst>
              </a:prstGeom>
              <a:solidFill>
                <a:srgbClr val="FFFFFF"/>
              </a:solidFill>
              <a:ln w="12700" cap="flat">
                <a:noFill/>
                <a:miter lim="400000"/>
              </a:ln>
              <a:effectLst>
                <a:outerShdw blurRad="342900" dist="25400" dir="5400000" rotWithShape="0">
                  <a:srgbClr val="000000">
                    <a:alpha val="15000"/>
                  </a:srgbClr>
                </a:outerShdw>
              </a:effectLst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4" name="Rounded Rectangle"/>
              <p:cNvSpPr/>
              <p:nvPr/>
            </p:nvSpPr>
            <p:spPr>
              <a:xfrm>
                <a:off x="10439244" y="3923376"/>
                <a:ext cx="3486303" cy="2258478"/>
              </a:xfrm>
              <a:prstGeom prst="roundRect">
                <a:avLst>
                  <a:gd name="adj" fmla="val 30272"/>
                </a:avLst>
              </a:prstGeom>
              <a:solidFill>
                <a:schemeClr val="accent6">
                  <a:lumMod val="7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endParaRPr sz="1200" dirty="0">
                  <a:solidFill>
                    <a:srgbClr val="FFFFFF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1147" name="Triangle"/>
              <p:cNvSpPr/>
              <p:nvPr/>
            </p:nvSpPr>
            <p:spPr>
              <a:xfrm rot="13500000">
                <a:off x="13522618" y="4125141"/>
                <a:ext cx="148149" cy="14814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rgbClr val="FFFFFF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>
                  <a:defRPr sz="3200" b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  <a:sym typeface="Helvetica Neue Medium"/>
                  </a:defRPr>
                </a:pPr>
                <a:endParaRPr sz="1200" dirty="0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1145" name="14:00"/>
            <p:cNvSpPr txBox="1"/>
            <p:nvPr/>
          </p:nvSpPr>
          <p:spPr>
            <a:xfrm>
              <a:off x="11113738" y="4140627"/>
              <a:ext cx="2434392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latin typeface="Century Gothic" panose="020B0502020202020204" pitchFamily="34" charset="0"/>
                </a:rPr>
                <a:t>3-4 semesters</a:t>
              </a:r>
              <a:endParaRPr sz="1600" b="1" dirty="0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B920FD1-012B-421E-A780-4D81D1CE2C3B}"/>
              </a:ext>
            </a:extLst>
          </p:cNvPr>
          <p:cNvGrpSpPr/>
          <p:nvPr/>
        </p:nvGrpSpPr>
        <p:grpSpPr>
          <a:xfrm>
            <a:off x="555375" y="1633933"/>
            <a:ext cx="2304256" cy="572225"/>
            <a:chOff x="1735666" y="3603875"/>
            <a:chExt cx="3948794" cy="3020176"/>
          </a:xfrm>
        </p:grpSpPr>
        <p:sp>
          <p:nvSpPr>
            <p:cNvPr id="1109" name="Rounded Rectangle"/>
            <p:cNvSpPr/>
            <p:nvPr/>
          </p:nvSpPr>
          <p:spPr>
            <a:xfrm>
              <a:off x="1735666" y="3603875"/>
              <a:ext cx="3948794" cy="3020176"/>
            </a:xfrm>
            <a:prstGeom prst="roundRect">
              <a:avLst>
                <a:gd name="adj" fmla="val 12724"/>
              </a:avLst>
            </a:prstGeom>
            <a:solidFill>
              <a:srgbClr val="FFFFFF"/>
            </a:solidFill>
            <a:ln w="12700" cap="flat">
              <a:noFill/>
              <a:miter lim="400000"/>
            </a:ln>
            <a:effectLst>
              <a:outerShdw blurRad="342900" dist="25400" dir="5400000" rotWithShape="0">
                <a:srgbClr val="000000">
                  <a:alpha val="15000"/>
                </a:srgbClr>
              </a:outerShdw>
            </a:effectLst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0" name="Rounded Rectangle"/>
            <p:cNvSpPr/>
            <p:nvPr/>
          </p:nvSpPr>
          <p:spPr>
            <a:xfrm>
              <a:off x="1966910" y="3985518"/>
              <a:ext cx="3486303" cy="2258478"/>
            </a:xfrm>
            <a:prstGeom prst="roundRect">
              <a:avLst>
                <a:gd name="adj" fmla="val 30272"/>
              </a:avLst>
            </a:prstGeom>
            <a:solidFill>
              <a:schemeClr val="tx2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endParaRPr sz="12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124" name="Triangle"/>
            <p:cNvSpPr/>
            <p:nvPr/>
          </p:nvSpPr>
          <p:spPr>
            <a:xfrm rot="13500000">
              <a:off x="5045521" y="4125141"/>
              <a:ext cx="148149" cy="148149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0"/>
                  </a:moveTo>
                  <a:lnTo>
                    <a:pt x="0" y="21600"/>
                  </a:lnTo>
                  <a:lnTo>
                    <a:pt x="2160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>
                <a:defRPr sz="3200" b="0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 Neue Medium"/>
                </a:defRPr>
              </a:pPr>
              <a:endParaRPr sz="1200" dirty="0">
                <a:latin typeface="Century Gothic" panose="020B0502020202020204" pitchFamily="34" charset="0"/>
              </a:endParaRPr>
            </a:p>
          </p:txBody>
        </p:sp>
        <p:sp>
          <p:nvSpPr>
            <p:cNvPr id="1111" name="9:00"/>
            <p:cNvSpPr txBox="1"/>
            <p:nvPr/>
          </p:nvSpPr>
          <p:spPr>
            <a:xfrm>
              <a:off x="2413205" y="4290183"/>
              <a:ext cx="2637004" cy="150259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19050" tIns="19050" rIns="19050" bIns="19050" numCol="1" anchor="ctr">
              <a:spAutoFit/>
            </a:bodyPr>
            <a:lstStyle>
              <a:lvl1pPr>
                <a:defRPr sz="2200" b="0">
                  <a:solidFill>
                    <a:srgbClr val="FFFFFF"/>
                  </a:solidFill>
                  <a:latin typeface="Poppins Medium"/>
                  <a:ea typeface="Poppins Medium"/>
                  <a:cs typeface="Poppins Medium"/>
                  <a:sym typeface="Poppins Medium"/>
                </a:defRPr>
              </a:lvl1pPr>
            </a:lstStyle>
            <a:p>
              <a:r>
                <a:rPr lang="en-US" sz="1600" b="1" dirty="0">
                  <a:solidFill>
                    <a:srgbClr val="FEFCFF"/>
                  </a:solidFill>
                  <a:latin typeface="Century Gothic" panose="020B0502020202020204" pitchFamily="34" charset="0"/>
                </a:rPr>
                <a:t>1-2 semesters</a:t>
              </a:r>
              <a:endParaRPr sz="1600" b="1" dirty="0">
                <a:solidFill>
                  <a:srgbClr val="FEFCFF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90" name="Daily Plan">
            <a:extLst>
              <a:ext uri="{FF2B5EF4-FFF2-40B4-BE49-F238E27FC236}">
                <a16:creationId xmlns:a16="http://schemas.microsoft.com/office/drawing/2014/main" id="{E1199566-1F01-DE4F-9C81-900ECB96BC6C}"/>
              </a:ext>
            </a:extLst>
          </p:cNvPr>
          <p:cNvSpPr txBox="1"/>
          <p:nvPr/>
        </p:nvSpPr>
        <p:spPr>
          <a:xfrm>
            <a:off x="-108520" y="67282"/>
            <a:ext cx="9144000" cy="3847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9050" tIns="19050" rIns="19050" bIns="19050">
            <a:spAutoFit/>
          </a:bodyPr>
          <a:lstStyle>
            <a:lvl1pPr algn="l">
              <a:defRPr sz="6000" b="0">
                <a:solidFill>
                  <a:srgbClr val="221903"/>
                </a:solidFill>
                <a:latin typeface="Poppins SemiBold"/>
                <a:ea typeface="Poppins SemiBold"/>
                <a:cs typeface="Poppins SemiBold"/>
                <a:sym typeface="Poppins SemiBold"/>
              </a:defRPr>
            </a:lvl1pPr>
          </a:lstStyle>
          <a:p>
            <a:pPr algn="ctr"/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European and International Business Law (</a:t>
            </a:r>
            <a:r>
              <a:rPr lang="en-US" sz="22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3 diplomas</a:t>
            </a:r>
            <a:r>
              <a:rPr lang="en-US" sz="2250" b="1" dirty="0">
                <a:solidFill>
                  <a:schemeClr val="tx2"/>
                </a:solidFill>
                <a:latin typeface="Century Gothic" panose="020B0502020202020204" pitchFamily="34" charset="0"/>
              </a:rPr>
              <a:t>)</a:t>
            </a:r>
            <a:endParaRPr sz="225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5122" name="Picture 2">
            <a:extLst>
              <a:ext uri="{FF2B5EF4-FFF2-40B4-BE49-F238E27FC236}">
                <a16:creationId xmlns:a16="http://schemas.microsoft.com/office/drawing/2014/main" id="{855A2BC8-470F-7EFD-198E-3CAB7035C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672" y="690222"/>
            <a:ext cx="1813873" cy="751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">
            <a:extLst>
              <a:ext uri="{FF2B5EF4-FFF2-40B4-BE49-F238E27FC236}">
                <a16:creationId xmlns:a16="http://schemas.microsoft.com/office/drawing/2014/main" id="{AD564ECD-AE2F-ABAF-0841-7B0A5748005B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15617" y="570601"/>
            <a:ext cx="968975" cy="991325"/>
          </a:xfrm>
          <a:prstGeom prst="rect">
            <a:avLst/>
          </a:prstGeom>
          <a:noFill/>
        </p:spPr>
      </p:pic>
      <p:pic>
        <p:nvPicPr>
          <p:cNvPr id="2" name="image6.png">
            <a:extLst>
              <a:ext uri="{FF2B5EF4-FFF2-40B4-BE49-F238E27FC236}">
                <a16:creationId xmlns:a16="http://schemas.microsoft.com/office/drawing/2014/main" id="{8024F114-908C-26F8-065D-BE2704B08D8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7548" y="790349"/>
            <a:ext cx="1661447" cy="5834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87940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1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000"/>
                                        <p:tgtEl>
                                          <p:spTgt spid="1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7396 0.00035 L -0.0002 0.00035 " pathEditMode="relative" rAng="0" ptsTypes="AA">
                                      <p:cBhvr>
                                        <p:cTn id="24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685" y="0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1000"/>
                                        <p:tgtEl>
                                          <p:spTgt spid="1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8" grpId="0"/>
      <p:bldP spid="1182" grpId="0"/>
      <p:bldP spid="111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948658" y="1106899"/>
            <a:ext cx="2202389" cy="1899749"/>
            <a:chOff x="2530083" y="2952016"/>
            <a:chExt cx="5873803" cy="5066658"/>
          </a:xfrm>
        </p:grpSpPr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2530083" y="2952016"/>
              <a:ext cx="5873803" cy="5066658"/>
            </a:xfrm>
            <a:custGeom>
              <a:avLst/>
              <a:gdLst>
                <a:gd name="T0" fmla="*/ 697 w 766"/>
                <a:gd name="T1" fmla="*/ 263 h 661"/>
                <a:gd name="T2" fmla="*/ 448 w 766"/>
                <a:gd name="T3" fmla="*/ 17 h 661"/>
                <a:gd name="T4" fmla="*/ 238 w 766"/>
                <a:gd name="T5" fmla="*/ 61 h 661"/>
                <a:gd name="T6" fmla="*/ 232 w 766"/>
                <a:gd name="T7" fmla="*/ 80 h 661"/>
                <a:gd name="T8" fmla="*/ 226 w 766"/>
                <a:gd name="T9" fmla="*/ 90 h 661"/>
                <a:gd name="T10" fmla="*/ 191 w 766"/>
                <a:gd name="T11" fmla="*/ 99 h 661"/>
                <a:gd name="T12" fmla="*/ 183 w 766"/>
                <a:gd name="T13" fmla="*/ 88 h 661"/>
                <a:gd name="T14" fmla="*/ 198 w 766"/>
                <a:gd name="T15" fmla="*/ 56 h 661"/>
                <a:gd name="T16" fmla="*/ 209 w 766"/>
                <a:gd name="T17" fmla="*/ 53 h 661"/>
                <a:gd name="T18" fmla="*/ 232 w 766"/>
                <a:gd name="T19" fmla="*/ 51 h 661"/>
                <a:gd name="T20" fmla="*/ 396 w 766"/>
                <a:gd name="T21" fmla="*/ 1 h 661"/>
                <a:gd name="T22" fmla="*/ 706 w 766"/>
                <a:gd name="T23" fmla="*/ 239 h 661"/>
                <a:gd name="T24" fmla="*/ 743 w 766"/>
                <a:gd name="T25" fmla="*/ 264 h 661"/>
                <a:gd name="T26" fmla="*/ 758 w 766"/>
                <a:gd name="T27" fmla="*/ 285 h 661"/>
                <a:gd name="T28" fmla="*/ 734 w 766"/>
                <a:gd name="T29" fmla="*/ 346 h 661"/>
                <a:gd name="T30" fmla="*/ 716 w 766"/>
                <a:gd name="T31" fmla="*/ 367 h 661"/>
                <a:gd name="T32" fmla="*/ 708 w 766"/>
                <a:gd name="T33" fmla="*/ 387 h 661"/>
                <a:gd name="T34" fmla="*/ 537 w 766"/>
                <a:gd name="T35" fmla="*/ 601 h 661"/>
                <a:gd name="T36" fmla="*/ 175 w 766"/>
                <a:gd name="T37" fmla="*/ 535 h 661"/>
                <a:gd name="T38" fmla="*/ 153 w 766"/>
                <a:gd name="T39" fmla="*/ 479 h 661"/>
                <a:gd name="T40" fmla="*/ 154 w 766"/>
                <a:gd name="T41" fmla="*/ 149 h 661"/>
                <a:gd name="T42" fmla="*/ 132 w 766"/>
                <a:gd name="T43" fmla="*/ 128 h 661"/>
                <a:gd name="T44" fmla="*/ 74 w 766"/>
                <a:gd name="T45" fmla="*/ 128 h 661"/>
                <a:gd name="T46" fmla="*/ 43 w 766"/>
                <a:gd name="T47" fmla="*/ 146 h 661"/>
                <a:gd name="T48" fmla="*/ 19 w 766"/>
                <a:gd name="T49" fmla="*/ 184 h 661"/>
                <a:gd name="T50" fmla="*/ 71 w 766"/>
                <a:gd name="T51" fmla="*/ 184 h 661"/>
                <a:gd name="T52" fmla="*/ 91 w 766"/>
                <a:gd name="T53" fmla="*/ 205 h 661"/>
                <a:gd name="T54" fmla="*/ 91 w 766"/>
                <a:gd name="T55" fmla="*/ 481 h 661"/>
                <a:gd name="T56" fmla="*/ 100 w 766"/>
                <a:gd name="T57" fmla="*/ 511 h 661"/>
                <a:gd name="T58" fmla="*/ 98 w 766"/>
                <a:gd name="T59" fmla="*/ 533 h 661"/>
                <a:gd name="T60" fmla="*/ 78 w 766"/>
                <a:gd name="T61" fmla="*/ 533 h 661"/>
                <a:gd name="T62" fmla="*/ 74 w 766"/>
                <a:gd name="T63" fmla="*/ 512 h 661"/>
                <a:gd name="T64" fmla="*/ 79 w 766"/>
                <a:gd name="T65" fmla="*/ 492 h 661"/>
                <a:gd name="T66" fmla="*/ 79 w 766"/>
                <a:gd name="T67" fmla="*/ 216 h 661"/>
                <a:gd name="T68" fmla="*/ 62 w 766"/>
                <a:gd name="T69" fmla="*/ 199 h 661"/>
                <a:gd name="T70" fmla="*/ 22 w 766"/>
                <a:gd name="T71" fmla="*/ 199 h 661"/>
                <a:gd name="T72" fmla="*/ 4 w 766"/>
                <a:gd name="T73" fmla="*/ 194 h 661"/>
                <a:gd name="T74" fmla="*/ 10 w 766"/>
                <a:gd name="T75" fmla="*/ 176 h 661"/>
                <a:gd name="T76" fmla="*/ 117 w 766"/>
                <a:gd name="T77" fmla="*/ 115 h 661"/>
                <a:gd name="T78" fmla="*/ 166 w 766"/>
                <a:gd name="T79" fmla="*/ 166 h 661"/>
                <a:gd name="T80" fmla="*/ 166 w 766"/>
                <a:gd name="T81" fmla="*/ 488 h 661"/>
                <a:gd name="T82" fmla="*/ 181 w 766"/>
                <a:gd name="T83" fmla="*/ 525 h 661"/>
                <a:gd name="T84" fmla="*/ 404 w 766"/>
                <a:gd name="T85" fmla="*/ 619 h 661"/>
                <a:gd name="T86" fmla="*/ 696 w 766"/>
                <a:gd name="T87" fmla="*/ 384 h 661"/>
                <a:gd name="T88" fmla="*/ 681 w 766"/>
                <a:gd name="T89" fmla="*/ 367 h 661"/>
                <a:gd name="T90" fmla="*/ 254 w 766"/>
                <a:gd name="T91" fmla="*/ 368 h 661"/>
                <a:gd name="T92" fmla="*/ 220 w 766"/>
                <a:gd name="T93" fmla="*/ 319 h 661"/>
                <a:gd name="T94" fmla="*/ 232 w 766"/>
                <a:gd name="T95" fmla="*/ 288 h 661"/>
                <a:gd name="T96" fmla="*/ 268 w 766"/>
                <a:gd name="T97" fmla="*/ 264 h 661"/>
                <a:gd name="T98" fmla="*/ 686 w 766"/>
                <a:gd name="T99" fmla="*/ 264 h 661"/>
                <a:gd name="T100" fmla="*/ 697 w 766"/>
                <a:gd name="T101" fmla="*/ 263 h 6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66" h="661">
                  <a:moveTo>
                    <a:pt x="697" y="263"/>
                  </a:moveTo>
                  <a:cubicBezTo>
                    <a:pt x="675" y="133"/>
                    <a:pt x="577" y="39"/>
                    <a:pt x="448" y="17"/>
                  </a:cubicBezTo>
                  <a:cubicBezTo>
                    <a:pt x="373" y="4"/>
                    <a:pt x="303" y="20"/>
                    <a:pt x="238" y="61"/>
                  </a:cubicBezTo>
                  <a:cubicBezTo>
                    <a:pt x="231" y="65"/>
                    <a:pt x="222" y="69"/>
                    <a:pt x="232" y="80"/>
                  </a:cubicBezTo>
                  <a:cubicBezTo>
                    <a:pt x="239" y="88"/>
                    <a:pt x="229" y="89"/>
                    <a:pt x="226" y="90"/>
                  </a:cubicBezTo>
                  <a:cubicBezTo>
                    <a:pt x="215" y="94"/>
                    <a:pt x="203" y="97"/>
                    <a:pt x="191" y="99"/>
                  </a:cubicBezTo>
                  <a:cubicBezTo>
                    <a:pt x="181" y="101"/>
                    <a:pt x="182" y="94"/>
                    <a:pt x="183" y="88"/>
                  </a:cubicBezTo>
                  <a:cubicBezTo>
                    <a:pt x="188" y="77"/>
                    <a:pt x="193" y="67"/>
                    <a:pt x="198" y="56"/>
                  </a:cubicBezTo>
                  <a:cubicBezTo>
                    <a:pt x="201" y="51"/>
                    <a:pt x="206" y="48"/>
                    <a:pt x="209" y="53"/>
                  </a:cubicBezTo>
                  <a:cubicBezTo>
                    <a:pt x="218" y="65"/>
                    <a:pt x="226" y="56"/>
                    <a:pt x="232" y="51"/>
                  </a:cubicBezTo>
                  <a:cubicBezTo>
                    <a:pt x="282" y="18"/>
                    <a:pt x="338" y="1"/>
                    <a:pt x="396" y="1"/>
                  </a:cubicBezTo>
                  <a:cubicBezTo>
                    <a:pt x="539" y="0"/>
                    <a:pt x="668" y="92"/>
                    <a:pt x="706" y="239"/>
                  </a:cubicBezTo>
                  <a:cubicBezTo>
                    <a:pt x="712" y="265"/>
                    <a:pt x="724" y="265"/>
                    <a:pt x="743" y="264"/>
                  </a:cubicBezTo>
                  <a:cubicBezTo>
                    <a:pt x="766" y="264"/>
                    <a:pt x="766" y="264"/>
                    <a:pt x="758" y="285"/>
                  </a:cubicBezTo>
                  <a:cubicBezTo>
                    <a:pt x="750" y="305"/>
                    <a:pt x="743" y="326"/>
                    <a:pt x="734" y="346"/>
                  </a:cubicBezTo>
                  <a:cubicBezTo>
                    <a:pt x="731" y="354"/>
                    <a:pt x="729" y="364"/>
                    <a:pt x="716" y="367"/>
                  </a:cubicBezTo>
                  <a:cubicBezTo>
                    <a:pt x="707" y="368"/>
                    <a:pt x="709" y="380"/>
                    <a:pt x="708" y="387"/>
                  </a:cubicBezTo>
                  <a:cubicBezTo>
                    <a:pt x="684" y="485"/>
                    <a:pt x="626" y="556"/>
                    <a:pt x="537" y="601"/>
                  </a:cubicBezTo>
                  <a:cubicBezTo>
                    <a:pt x="416" y="661"/>
                    <a:pt x="268" y="633"/>
                    <a:pt x="175" y="535"/>
                  </a:cubicBezTo>
                  <a:cubicBezTo>
                    <a:pt x="159" y="518"/>
                    <a:pt x="153" y="502"/>
                    <a:pt x="153" y="479"/>
                  </a:cubicBezTo>
                  <a:cubicBezTo>
                    <a:pt x="154" y="369"/>
                    <a:pt x="153" y="259"/>
                    <a:pt x="154" y="149"/>
                  </a:cubicBezTo>
                  <a:cubicBezTo>
                    <a:pt x="154" y="132"/>
                    <a:pt x="149" y="127"/>
                    <a:pt x="132" y="128"/>
                  </a:cubicBezTo>
                  <a:cubicBezTo>
                    <a:pt x="113" y="129"/>
                    <a:pt x="94" y="129"/>
                    <a:pt x="74" y="128"/>
                  </a:cubicBezTo>
                  <a:cubicBezTo>
                    <a:pt x="59" y="126"/>
                    <a:pt x="50" y="132"/>
                    <a:pt x="43" y="146"/>
                  </a:cubicBezTo>
                  <a:cubicBezTo>
                    <a:pt x="36" y="158"/>
                    <a:pt x="28" y="170"/>
                    <a:pt x="19" y="184"/>
                  </a:cubicBezTo>
                  <a:cubicBezTo>
                    <a:pt x="38" y="184"/>
                    <a:pt x="55" y="185"/>
                    <a:pt x="71" y="184"/>
                  </a:cubicBezTo>
                  <a:cubicBezTo>
                    <a:pt x="87" y="183"/>
                    <a:pt x="91" y="189"/>
                    <a:pt x="91" y="205"/>
                  </a:cubicBezTo>
                  <a:cubicBezTo>
                    <a:pt x="91" y="297"/>
                    <a:pt x="91" y="389"/>
                    <a:pt x="91" y="481"/>
                  </a:cubicBezTo>
                  <a:cubicBezTo>
                    <a:pt x="91" y="492"/>
                    <a:pt x="89" y="502"/>
                    <a:pt x="100" y="511"/>
                  </a:cubicBezTo>
                  <a:cubicBezTo>
                    <a:pt x="106" y="517"/>
                    <a:pt x="105" y="526"/>
                    <a:pt x="98" y="533"/>
                  </a:cubicBezTo>
                  <a:cubicBezTo>
                    <a:pt x="92" y="538"/>
                    <a:pt x="85" y="538"/>
                    <a:pt x="78" y="533"/>
                  </a:cubicBezTo>
                  <a:cubicBezTo>
                    <a:pt x="71" y="527"/>
                    <a:pt x="67" y="519"/>
                    <a:pt x="74" y="512"/>
                  </a:cubicBezTo>
                  <a:cubicBezTo>
                    <a:pt x="79" y="506"/>
                    <a:pt x="79" y="499"/>
                    <a:pt x="79" y="492"/>
                  </a:cubicBezTo>
                  <a:cubicBezTo>
                    <a:pt x="79" y="400"/>
                    <a:pt x="79" y="308"/>
                    <a:pt x="79" y="216"/>
                  </a:cubicBezTo>
                  <a:cubicBezTo>
                    <a:pt x="79" y="202"/>
                    <a:pt x="75" y="197"/>
                    <a:pt x="62" y="199"/>
                  </a:cubicBezTo>
                  <a:cubicBezTo>
                    <a:pt x="48" y="200"/>
                    <a:pt x="35" y="199"/>
                    <a:pt x="22" y="199"/>
                  </a:cubicBezTo>
                  <a:cubicBezTo>
                    <a:pt x="15" y="199"/>
                    <a:pt x="7" y="201"/>
                    <a:pt x="4" y="194"/>
                  </a:cubicBezTo>
                  <a:cubicBezTo>
                    <a:pt x="0" y="186"/>
                    <a:pt x="7" y="182"/>
                    <a:pt x="10" y="176"/>
                  </a:cubicBezTo>
                  <a:cubicBezTo>
                    <a:pt x="28" y="125"/>
                    <a:pt x="63" y="109"/>
                    <a:pt x="117" y="115"/>
                  </a:cubicBezTo>
                  <a:cubicBezTo>
                    <a:pt x="166" y="120"/>
                    <a:pt x="166" y="116"/>
                    <a:pt x="166" y="166"/>
                  </a:cubicBezTo>
                  <a:cubicBezTo>
                    <a:pt x="166" y="273"/>
                    <a:pt x="166" y="381"/>
                    <a:pt x="166" y="488"/>
                  </a:cubicBezTo>
                  <a:cubicBezTo>
                    <a:pt x="166" y="503"/>
                    <a:pt x="171" y="514"/>
                    <a:pt x="181" y="525"/>
                  </a:cubicBezTo>
                  <a:cubicBezTo>
                    <a:pt x="242" y="589"/>
                    <a:pt x="318" y="621"/>
                    <a:pt x="404" y="619"/>
                  </a:cubicBezTo>
                  <a:cubicBezTo>
                    <a:pt x="550" y="616"/>
                    <a:pt x="664" y="520"/>
                    <a:pt x="696" y="384"/>
                  </a:cubicBezTo>
                  <a:cubicBezTo>
                    <a:pt x="699" y="368"/>
                    <a:pt x="695" y="367"/>
                    <a:pt x="681" y="367"/>
                  </a:cubicBezTo>
                  <a:cubicBezTo>
                    <a:pt x="539" y="367"/>
                    <a:pt x="396" y="368"/>
                    <a:pt x="254" y="368"/>
                  </a:cubicBezTo>
                  <a:cubicBezTo>
                    <a:pt x="201" y="368"/>
                    <a:pt x="201" y="368"/>
                    <a:pt x="220" y="319"/>
                  </a:cubicBezTo>
                  <a:cubicBezTo>
                    <a:pt x="224" y="309"/>
                    <a:pt x="230" y="299"/>
                    <a:pt x="232" y="288"/>
                  </a:cubicBezTo>
                  <a:cubicBezTo>
                    <a:pt x="237" y="268"/>
                    <a:pt x="248" y="264"/>
                    <a:pt x="268" y="264"/>
                  </a:cubicBezTo>
                  <a:cubicBezTo>
                    <a:pt x="407" y="265"/>
                    <a:pt x="546" y="264"/>
                    <a:pt x="686" y="264"/>
                  </a:cubicBezTo>
                  <a:cubicBezTo>
                    <a:pt x="690" y="264"/>
                    <a:pt x="693" y="264"/>
                    <a:pt x="697" y="26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4341047" y="5049884"/>
              <a:ext cx="3001213" cy="5848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2-3 diplomas</a:t>
              </a:r>
            </a:p>
          </p:txBody>
        </p:sp>
      </p:grpSp>
      <p:sp>
        <p:nvSpPr>
          <p:cNvPr id="24" name="Shape 2940"/>
          <p:cNvSpPr/>
          <p:nvPr/>
        </p:nvSpPr>
        <p:spPr>
          <a:xfrm>
            <a:off x="3155430" y="3353229"/>
            <a:ext cx="332480" cy="3325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00" y="8345"/>
                </a:moveTo>
                <a:cubicBezTo>
                  <a:pt x="9444" y="8345"/>
                  <a:pt x="8345" y="9444"/>
                  <a:pt x="8345" y="10800"/>
                </a:cubicBezTo>
                <a:cubicBezTo>
                  <a:pt x="8345" y="12156"/>
                  <a:pt x="9444" y="13255"/>
                  <a:pt x="10800" y="13255"/>
                </a:cubicBezTo>
                <a:cubicBezTo>
                  <a:pt x="12156" y="13255"/>
                  <a:pt x="13255" y="12156"/>
                  <a:pt x="13255" y="10800"/>
                </a:cubicBezTo>
                <a:cubicBezTo>
                  <a:pt x="13255" y="9444"/>
                  <a:pt x="12156" y="8345"/>
                  <a:pt x="10800" y="8345"/>
                </a:cubicBezTo>
                <a:moveTo>
                  <a:pt x="11291" y="20593"/>
                </a:moveTo>
                <a:lnTo>
                  <a:pt x="11291" y="17182"/>
                </a:lnTo>
                <a:cubicBezTo>
                  <a:pt x="11291" y="16910"/>
                  <a:pt x="11071" y="16691"/>
                  <a:pt x="10800" y="16691"/>
                </a:cubicBezTo>
                <a:cubicBezTo>
                  <a:pt x="10529" y="16691"/>
                  <a:pt x="10309" y="16910"/>
                  <a:pt x="10309" y="17182"/>
                </a:cubicBezTo>
                <a:lnTo>
                  <a:pt x="10309" y="20593"/>
                </a:lnTo>
                <a:cubicBezTo>
                  <a:pt x="5280" y="20344"/>
                  <a:pt x="1255" y="16319"/>
                  <a:pt x="1006" y="11291"/>
                </a:cubicBezTo>
                <a:lnTo>
                  <a:pt x="4418" y="11291"/>
                </a:lnTo>
                <a:cubicBezTo>
                  <a:pt x="4690" y="11291"/>
                  <a:pt x="4909" y="11071"/>
                  <a:pt x="4909" y="10800"/>
                </a:cubicBezTo>
                <a:cubicBezTo>
                  <a:pt x="4909" y="10529"/>
                  <a:pt x="4690" y="10309"/>
                  <a:pt x="4418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lnTo>
                  <a:pt x="10309" y="4418"/>
                </a:lnTo>
                <a:cubicBezTo>
                  <a:pt x="10309" y="4690"/>
                  <a:pt x="10529" y="4909"/>
                  <a:pt x="10800" y="4909"/>
                </a:cubicBezTo>
                <a:cubicBezTo>
                  <a:pt x="11071" y="4909"/>
                  <a:pt x="11291" y="4690"/>
                  <a:pt x="11291" y="4418"/>
                </a:cubicBezTo>
                <a:lnTo>
                  <a:pt x="11291" y="1007"/>
                </a:lnTo>
                <a:cubicBezTo>
                  <a:pt x="16320" y="1256"/>
                  <a:pt x="20345" y="5281"/>
                  <a:pt x="20594" y="10309"/>
                </a:cubicBezTo>
                <a:lnTo>
                  <a:pt x="17182" y="10309"/>
                </a:lnTo>
                <a:cubicBezTo>
                  <a:pt x="16910" y="10309"/>
                  <a:pt x="16691" y="10529"/>
                  <a:pt x="16691" y="10800"/>
                </a:cubicBezTo>
                <a:cubicBezTo>
                  <a:pt x="16691" y="11071"/>
                  <a:pt x="16910" y="11291"/>
                  <a:pt x="17182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0800" y="0"/>
                </a:moveTo>
                <a:cubicBezTo>
                  <a:pt x="10800" y="0"/>
                  <a:pt x="10800" y="0"/>
                  <a:pt x="10800" y="0"/>
                </a:cubicBezTo>
                <a:cubicBezTo>
                  <a:pt x="10800" y="0"/>
                  <a:pt x="10800" y="0"/>
                  <a:pt x="10800" y="0"/>
                </a:cubicBez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6"/>
                  <a:pt x="16765" y="0"/>
                  <a:pt x="10800" y="0"/>
                </a:cubicBezTo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5" name="Shape 2941"/>
          <p:cNvSpPr/>
          <p:nvPr/>
        </p:nvSpPr>
        <p:spPr>
          <a:xfrm>
            <a:off x="4539780" y="1343469"/>
            <a:ext cx="332480" cy="3325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291" y="20593"/>
                </a:moveTo>
                <a:lnTo>
                  <a:pt x="11291" y="17648"/>
                </a:lnTo>
                <a:cubicBezTo>
                  <a:pt x="14694" y="17407"/>
                  <a:pt x="17408" y="14693"/>
                  <a:pt x="17649" y="11291"/>
                </a:cubicBezTo>
                <a:lnTo>
                  <a:pt x="20594" y="11291"/>
                </a:lnTo>
                <a:cubicBezTo>
                  <a:pt x="20345" y="16319"/>
                  <a:pt x="16320" y="20344"/>
                  <a:pt x="11291" y="20593"/>
                </a:cubicBezTo>
                <a:moveTo>
                  <a:pt x="11291" y="13205"/>
                </a:moveTo>
                <a:cubicBezTo>
                  <a:pt x="12252" y="13010"/>
                  <a:pt x="13005" y="12252"/>
                  <a:pt x="13201" y="11291"/>
                </a:cubicBezTo>
                <a:lnTo>
                  <a:pt x="16667" y="11291"/>
                </a:lnTo>
                <a:cubicBezTo>
                  <a:pt x="16431" y="14152"/>
                  <a:pt x="14152" y="16429"/>
                  <a:pt x="11291" y="16666"/>
                </a:cubicBezTo>
                <a:cubicBezTo>
                  <a:pt x="11291" y="16666"/>
                  <a:pt x="11291" y="13205"/>
                  <a:pt x="11291" y="13205"/>
                </a:cubicBezTo>
                <a:close/>
                <a:moveTo>
                  <a:pt x="11291" y="4934"/>
                </a:moveTo>
                <a:cubicBezTo>
                  <a:pt x="12233" y="5012"/>
                  <a:pt x="13111" y="5315"/>
                  <a:pt x="13875" y="5784"/>
                </a:cubicBezTo>
                <a:cubicBezTo>
                  <a:pt x="13793" y="5967"/>
                  <a:pt x="13745" y="6168"/>
                  <a:pt x="13745" y="6382"/>
                </a:cubicBezTo>
                <a:cubicBezTo>
                  <a:pt x="13745" y="7195"/>
                  <a:pt x="14405" y="7855"/>
                  <a:pt x="15218" y="7855"/>
                </a:cubicBezTo>
                <a:cubicBezTo>
                  <a:pt x="15432" y="7855"/>
                  <a:pt x="15633" y="7807"/>
                  <a:pt x="15816" y="7725"/>
                </a:cubicBezTo>
                <a:cubicBezTo>
                  <a:pt x="16286" y="8489"/>
                  <a:pt x="16589" y="9367"/>
                  <a:pt x="16667" y="10309"/>
                </a:cubicBezTo>
                <a:lnTo>
                  <a:pt x="13201" y="10309"/>
                </a:lnTo>
                <a:cubicBezTo>
                  <a:pt x="13005" y="9348"/>
                  <a:pt x="12252" y="8590"/>
                  <a:pt x="11291" y="8395"/>
                </a:cubicBezTo>
                <a:cubicBezTo>
                  <a:pt x="11291" y="8395"/>
                  <a:pt x="11291" y="4934"/>
                  <a:pt x="11291" y="4934"/>
                </a:cubicBezTo>
                <a:close/>
                <a:moveTo>
                  <a:pt x="11291" y="1007"/>
                </a:moveTo>
                <a:cubicBezTo>
                  <a:pt x="16320" y="1256"/>
                  <a:pt x="20345" y="5281"/>
                  <a:pt x="20594" y="10309"/>
                </a:cubicBezTo>
                <a:lnTo>
                  <a:pt x="17649" y="10309"/>
                </a:lnTo>
                <a:cubicBezTo>
                  <a:pt x="17563" y="9102"/>
                  <a:pt x="17162" y="7985"/>
                  <a:pt x="16534" y="7031"/>
                </a:cubicBezTo>
                <a:cubicBezTo>
                  <a:pt x="16631" y="6835"/>
                  <a:pt x="16691" y="6616"/>
                  <a:pt x="16691" y="6382"/>
                </a:cubicBezTo>
                <a:cubicBezTo>
                  <a:pt x="16691" y="5569"/>
                  <a:pt x="16032" y="4909"/>
                  <a:pt x="15218" y="4909"/>
                </a:cubicBezTo>
                <a:cubicBezTo>
                  <a:pt x="14984" y="4909"/>
                  <a:pt x="14765" y="4969"/>
                  <a:pt x="14568" y="5066"/>
                </a:cubicBezTo>
                <a:cubicBezTo>
                  <a:pt x="13614" y="4439"/>
                  <a:pt x="12498" y="4038"/>
                  <a:pt x="11291" y="3952"/>
                </a:cubicBezTo>
                <a:cubicBezTo>
                  <a:pt x="11291" y="3952"/>
                  <a:pt x="11291" y="1007"/>
                  <a:pt x="11291" y="1007"/>
                </a:cubicBezTo>
                <a:close/>
                <a:moveTo>
                  <a:pt x="10309" y="3949"/>
                </a:moveTo>
                <a:cubicBezTo>
                  <a:pt x="7225" y="4167"/>
                  <a:pt x="4703" y="6417"/>
                  <a:pt x="4078" y="9370"/>
                </a:cubicBezTo>
                <a:cubicBezTo>
                  <a:pt x="3590" y="9486"/>
                  <a:pt x="3196" y="9843"/>
                  <a:pt x="3030" y="10309"/>
                </a:cubicBezTo>
                <a:lnTo>
                  <a:pt x="1006" y="10309"/>
                </a:lnTo>
                <a:cubicBezTo>
                  <a:pt x="1255" y="5281"/>
                  <a:pt x="5280" y="1256"/>
                  <a:pt x="10309" y="1007"/>
                </a:cubicBezTo>
                <a:cubicBezTo>
                  <a:pt x="10309" y="1007"/>
                  <a:pt x="10309" y="3949"/>
                  <a:pt x="10309" y="3949"/>
                </a:cubicBezTo>
                <a:close/>
                <a:moveTo>
                  <a:pt x="10309" y="8395"/>
                </a:moveTo>
                <a:cubicBezTo>
                  <a:pt x="9348" y="8590"/>
                  <a:pt x="8595" y="9348"/>
                  <a:pt x="8399" y="10309"/>
                </a:cubicBezTo>
                <a:lnTo>
                  <a:pt x="5796" y="10309"/>
                </a:lnTo>
                <a:cubicBezTo>
                  <a:pt x="5666" y="9948"/>
                  <a:pt x="5405" y="9649"/>
                  <a:pt x="5062" y="9482"/>
                </a:cubicBezTo>
                <a:cubicBezTo>
                  <a:pt x="5626" y="7018"/>
                  <a:pt x="7730" y="5144"/>
                  <a:pt x="10309" y="4930"/>
                </a:cubicBezTo>
                <a:cubicBezTo>
                  <a:pt x="10309" y="4930"/>
                  <a:pt x="10309" y="8395"/>
                  <a:pt x="10309" y="8395"/>
                </a:cubicBezTo>
                <a:close/>
                <a:moveTo>
                  <a:pt x="10309" y="16670"/>
                </a:moveTo>
                <a:cubicBezTo>
                  <a:pt x="7730" y="16456"/>
                  <a:pt x="5626" y="14582"/>
                  <a:pt x="5062" y="12118"/>
                </a:cubicBezTo>
                <a:cubicBezTo>
                  <a:pt x="5405" y="11951"/>
                  <a:pt x="5666" y="11652"/>
                  <a:pt x="5796" y="11291"/>
                </a:cubicBezTo>
                <a:lnTo>
                  <a:pt x="8399" y="11291"/>
                </a:lnTo>
                <a:cubicBezTo>
                  <a:pt x="8595" y="12252"/>
                  <a:pt x="9348" y="13010"/>
                  <a:pt x="10309" y="13205"/>
                </a:cubicBezTo>
                <a:cubicBezTo>
                  <a:pt x="10309" y="13205"/>
                  <a:pt x="10309" y="16670"/>
                  <a:pt x="10309" y="16670"/>
                </a:cubicBezTo>
                <a:close/>
                <a:moveTo>
                  <a:pt x="10309" y="20593"/>
                </a:moveTo>
                <a:cubicBezTo>
                  <a:pt x="5280" y="20344"/>
                  <a:pt x="1255" y="16319"/>
                  <a:pt x="1006" y="11291"/>
                </a:cubicBezTo>
                <a:lnTo>
                  <a:pt x="3030" y="11291"/>
                </a:lnTo>
                <a:cubicBezTo>
                  <a:pt x="3196" y="11757"/>
                  <a:pt x="3590" y="12114"/>
                  <a:pt x="4078" y="12230"/>
                </a:cubicBezTo>
                <a:cubicBezTo>
                  <a:pt x="4703" y="15183"/>
                  <a:pt x="7225" y="17434"/>
                  <a:pt x="10309" y="17651"/>
                </a:cubicBezTo>
                <a:cubicBezTo>
                  <a:pt x="10309" y="17651"/>
                  <a:pt x="10309" y="20593"/>
                  <a:pt x="10309" y="20593"/>
                </a:cubicBezTo>
                <a:close/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6" name="Shape 2945"/>
          <p:cNvSpPr/>
          <p:nvPr/>
        </p:nvSpPr>
        <p:spPr>
          <a:xfrm>
            <a:off x="5816365" y="3353230"/>
            <a:ext cx="332480" cy="3325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658" y="8342"/>
                </a:moveTo>
                <a:cubicBezTo>
                  <a:pt x="17614" y="6914"/>
                  <a:pt x="17383" y="5576"/>
                  <a:pt x="17008" y="4408"/>
                </a:cubicBezTo>
                <a:cubicBezTo>
                  <a:pt x="17543" y="4130"/>
                  <a:pt x="18018" y="3797"/>
                  <a:pt x="18435" y="3427"/>
                </a:cubicBezTo>
                <a:cubicBezTo>
                  <a:pt x="19673" y="4722"/>
                  <a:pt x="20474" y="6437"/>
                  <a:pt x="20593" y="8342"/>
                </a:cubicBezTo>
                <a:cubicBezTo>
                  <a:pt x="20593" y="8342"/>
                  <a:pt x="17658" y="8342"/>
                  <a:pt x="17658" y="8342"/>
                </a:cubicBezTo>
                <a:close/>
                <a:moveTo>
                  <a:pt x="15485" y="1482"/>
                </a:moveTo>
                <a:cubicBezTo>
                  <a:pt x="16306" y="1786"/>
                  <a:pt x="17058" y="2226"/>
                  <a:pt x="17723" y="2769"/>
                </a:cubicBezTo>
                <a:cubicBezTo>
                  <a:pt x="17412" y="3036"/>
                  <a:pt x="17056" y="3275"/>
                  <a:pt x="16666" y="3486"/>
                </a:cubicBezTo>
                <a:cubicBezTo>
                  <a:pt x="16337" y="2707"/>
                  <a:pt x="15939" y="2026"/>
                  <a:pt x="15485" y="1482"/>
                </a:cubicBezTo>
                <a:moveTo>
                  <a:pt x="12764" y="0"/>
                </a:moveTo>
                <a:cubicBezTo>
                  <a:pt x="9919" y="0"/>
                  <a:pt x="7396" y="1350"/>
                  <a:pt x="5780" y="3437"/>
                </a:cubicBezTo>
                <a:cubicBezTo>
                  <a:pt x="6514" y="3197"/>
                  <a:pt x="7287" y="3044"/>
                  <a:pt x="8086" y="2983"/>
                </a:cubicBezTo>
                <a:cubicBezTo>
                  <a:pt x="7991" y="2912"/>
                  <a:pt x="7892" y="2844"/>
                  <a:pt x="7804" y="2769"/>
                </a:cubicBezTo>
                <a:cubicBezTo>
                  <a:pt x="8469" y="2226"/>
                  <a:pt x="9222" y="1786"/>
                  <a:pt x="10042" y="1482"/>
                </a:cubicBezTo>
                <a:cubicBezTo>
                  <a:pt x="9694" y="1899"/>
                  <a:pt x="9380" y="2398"/>
                  <a:pt x="9104" y="2959"/>
                </a:cubicBezTo>
                <a:cubicBezTo>
                  <a:pt x="9451" y="2968"/>
                  <a:pt x="9793" y="2996"/>
                  <a:pt x="10131" y="3040"/>
                </a:cubicBezTo>
                <a:cubicBezTo>
                  <a:pt x="10712" y="1983"/>
                  <a:pt x="11449" y="1263"/>
                  <a:pt x="12269" y="1056"/>
                </a:cubicBezTo>
                <a:lnTo>
                  <a:pt x="12269" y="3575"/>
                </a:lnTo>
                <a:cubicBezTo>
                  <a:pt x="12608" y="3701"/>
                  <a:pt x="12938" y="3844"/>
                  <a:pt x="13258" y="4006"/>
                </a:cubicBezTo>
                <a:lnTo>
                  <a:pt x="13258" y="1056"/>
                </a:lnTo>
                <a:cubicBezTo>
                  <a:pt x="14282" y="1315"/>
                  <a:pt x="15181" y="2363"/>
                  <a:pt x="15801" y="3883"/>
                </a:cubicBezTo>
                <a:cubicBezTo>
                  <a:pt x="15207" y="4107"/>
                  <a:pt x="14555" y="4261"/>
                  <a:pt x="13865" y="4342"/>
                </a:cubicBezTo>
                <a:cubicBezTo>
                  <a:pt x="14263" y="4581"/>
                  <a:pt x="14647" y="4840"/>
                  <a:pt x="15006" y="5131"/>
                </a:cubicBezTo>
                <a:cubicBezTo>
                  <a:pt x="15391" y="5041"/>
                  <a:pt x="15767" y="4935"/>
                  <a:pt x="16122" y="4801"/>
                </a:cubicBezTo>
                <a:cubicBezTo>
                  <a:pt x="16296" y="5379"/>
                  <a:pt x="16430" y="6009"/>
                  <a:pt x="16526" y="6670"/>
                </a:cubicBezTo>
                <a:cubicBezTo>
                  <a:pt x="17157" y="7466"/>
                  <a:pt x="17663" y="8363"/>
                  <a:pt x="18025" y="9331"/>
                </a:cubicBezTo>
                <a:lnTo>
                  <a:pt x="20593" y="9331"/>
                </a:lnTo>
                <a:cubicBezTo>
                  <a:pt x="20478" y="11173"/>
                  <a:pt x="19721" y="12834"/>
                  <a:pt x="18551" y="14114"/>
                </a:cubicBezTo>
                <a:cubicBezTo>
                  <a:pt x="18470" y="14700"/>
                  <a:pt x="18342" y="15272"/>
                  <a:pt x="18163" y="15821"/>
                </a:cubicBezTo>
                <a:cubicBezTo>
                  <a:pt x="20250" y="14204"/>
                  <a:pt x="21600" y="11681"/>
                  <a:pt x="21600" y="8836"/>
                </a:cubicBezTo>
                <a:cubicBezTo>
                  <a:pt x="21600" y="3956"/>
                  <a:pt x="17644" y="0"/>
                  <a:pt x="12764" y="0"/>
                </a:cubicBezTo>
                <a:moveTo>
                  <a:pt x="13731" y="12269"/>
                </a:moveTo>
                <a:cubicBezTo>
                  <a:pt x="13687" y="10842"/>
                  <a:pt x="13456" y="9504"/>
                  <a:pt x="13081" y="8335"/>
                </a:cubicBezTo>
                <a:cubicBezTo>
                  <a:pt x="13616" y="8057"/>
                  <a:pt x="14091" y="7725"/>
                  <a:pt x="14507" y="7354"/>
                </a:cubicBezTo>
                <a:cubicBezTo>
                  <a:pt x="15746" y="8649"/>
                  <a:pt x="16547" y="10365"/>
                  <a:pt x="16666" y="12269"/>
                </a:cubicBezTo>
                <a:cubicBezTo>
                  <a:pt x="16666" y="12269"/>
                  <a:pt x="13731" y="12269"/>
                  <a:pt x="13731" y="12269"/>
                </a:cubicBezTo>
                <a:close/>
                <a:moveTo>
                  <a:pt x="14507" y="18173"/>
                </a:moveTo>
                <a:cubicBezTo>
                  <a:pt x="14091" y="17803"/>
                  <a:pt x="13616" y="17470"/>
                  <a:pt x="13081" y="17192"/>
                </a:cubicBezTo>
                <a:cubicBezTo>
                  <a:pt x="13456" y="16024"/>
                  <a:pt x="13687" y="14686"/>
                  <a:pt x="13731" y="13258"/>
                </a:cubicBezTo>
                <a:lnTo>
                  <a:pt x="16666" y="13258"/>
                </a:lnTo>
                <a:cubicBezTo>
                  <a:pt x="16547" y="15163"/>
                  <a:pt x="15746" y="16878"/>
                  <a:pt x="14507" y="18173"/>
                </a:cubicBezTo>
                <a:moveTo>
                  <a:pt x="11558" y="20118"/>
                </a:moveTo>
                <a:cubicBezTo>
                  <a:pt x="12012" y="19574"/>
                  <a:pt x="12409" y="18893"/>
                  <a:pt x="12738" y="18114"/>
                </a:cubicBezTo>
                <a:cubicBezTo>
                  <a:pt x="13129" y="18325"/>
                  <a:pt x="13485" y="18564"/>
                  <a:pt x="13796" y="18831"/>
                </a:cubicBezTo>
                <a:cubicBezTo>
                  <a:pt x="13131" y="19374"/>
                  <a:pt x="12378" y="19814"/>
                  <a:pt x="11558" y="20118"/>
                </a:cubicBezTo>
                <a:moveTo>
                  <a:pt x="9331" y="20544"/>
                </a:moveTo>
                <a:lnTo>
                  <a:pt x="9331" y="17204"/>
                </a:lnTo>
                <a:cubicBezTo>
                  <a:pt x="10246" y="17253"/>
                  <a:pt x="11108" y="17428"/>
                  <a:pt x="11874" y="17717"/>
                </a:cubicBezTo>
                <a:cubicBezTo>
                  <a:pt x="11254" y="19237"/>
                  <a:pt x="10355" y="20286"/>
                  <a:pt x="9331" y="20544"/>
                </a:cubicBezTo>
                <a:moveTo>
                  <a:pt x="9331" y="13258"/>
                </a:moveTo>
                <a:lnTo>
                  <a:pt x="12749" y="13258"/>
                </a:lnTo>
                <a:cubicBezTo>
                  <a:pt x="12709" y="14550"/>
                  <a:pt x="12510" y="15752"/>
                  <a:pt x="12195" y="16799"/>
                </a:cubicBezTo>
                <a:cubicBezTo>
                  <a:pt x="11327" y="16471"/>
                  <a:pt x="10357" y="16273"/>
                  <a:pt x="9331" y="16223"/>
                </a:cubicBezTo>
                <a:cubicBezTo>
                  <a:pt x="9331" y="16223"/>
                  <a:pt x="9331" y="13258"/>
                  <a:pt x="9331" y="13258"/>
                </a:cubicBezTo>
                <a:close/>
                <a:moveTo>
                  <a:pt x="9331" y="9305"/>
                </a:moveTo>
                <a:cubicBezTo>
                  <a:pt x="10357" y="9254"/>
                  <a:pt x="11327" y="9056"/>
                  <a:pt x="12195" y="8728"/>
                </a:cubicBezTo>
                <a:cubicBezTo>
                  <a:pt x="12510" y="9775"/>
                  <a:pt x="12709" y="10977"/>
                  <a:pt x="12749" y="12269"/>
                </a:cubicBezTo>
                <a:lnTo>
                  <a:pt x="9331" y="12269"/>
                </a:lnTo>
                <a:cubicBezTo>
                  <a:pt x="9331" y="12269"/>
                  <a:pt x="9331" y="9305"/>
                  <a:pt x="9331" y="9305"/>
                </a:cubicBezTo>
                <a:close/>
                <a:moveTo>
                  <a:pt x="9331" y="4983"/>
                </a:moveTo>
                <a:cubicBezTo>
                  <a:pt x="10355" y="5242"/>
                  <a:pt x="11254" y="6290"/>
                  <a:pt x="11874" y="7810"/>
                </a:cubicBezTo>
                <a:cubicBezTo>
                  <a:pt x="11108" y="8099"/>
                  <a:pt x="10246" y="8275"/>
                  <a:pt x="9331" y="8323"/>
                </a:cubicBezTo>
                <a:cubicBezTo>
                  <a:pt x="9331" y="8323"/>
                  <a:pt x="9331" y="4983"/>
                  <a:pt x="9331" y="4983"/>
                </a:cubicBezTo>
                <a:close/>
                <a:moveTo>
                  <a:pt x="13796" y="6696"/>
                </a:moveTo>
                <a:cubicBezTo>
                  <a:pt x="13485" y="6963"/>
                  <a:pt x="13129" y="7203"/>
                  <a:pt x="12738" y="7413"/>
                </a:cubicBezTo>
                <a:cubicBezTo>
                  <a:pt x="12409" y="6634"/>
                  <a:pt x="12012" y="5954"/>
                  <a:pt x="11557" y="5410"/>
                </a:cubicBezTo>
                <a:cubicBezTo>
                  <a:pt x="12378" y="5714"/>
                  <a:pt x="13131" y="6153"/>
                  <a:pt x="13796" y="6696"/>
                </a:cubicBezTo>
                <a:moveTo>
                  <a:pt x="8342" y="8323"/>
                </a:moveTo>
                <a:cubicBezTo>
                  <a:pt x="7427" y="8275"/>
                  <a:pt x="6564" y="8099"/>
                  <a:pt x="5799" y="7810"/>
                </a:cubicBezTo>
                <a:cubicBezTo>
                  <a:pt x="6419" y="6290"/>
                  <a:pt x="7318" y="5242"/>
                  <a:pt x="8342" y="4983"/>
                </a:cubicBezTo>
                <a:cubicBezTo>
                  <a:pt x="8342" y="4983"/>
                  <a:pt x="8342" y="8323"/>
                  <a:pt x="8342" y="8323"/>
                </a:cubicBezTo>
                <a:close/>
                <a:moveTo>
                  <a:pt x="8342" y="12269"/>
                </a:moveTo>
                <a:lnTo>
                  <a:pt x="4923" y="12269"/>
                </a:lnTo>
                <a:cubicBezTo>
                  <a:pt x="4964" y="10977"/>
                  <a:pt x="5163" y="9775"/>
                  <a:pt x="5478" y="8728"/>
                </a:cubicBezTo>
                <a:cubicBezTo>
                  <a:pt x="6346" y="9056"/>
                  <a:pt x="7316" y="9254"/>
                  <a:pt x="8342" y="9305"/>
                </a:cubicBezTo>
                <a:cubicBezTo>
                  <a:pt x="8342" y="9305"/>
                  <a:pt x="8342" y="12269"/>
                  <a:pt x="8342" y="12269"/>
                </a:cubicBezTo>
                <a:close/>
                <a:moveTo>
                  <a:pt x="8342" y="16223"/>
                </a:moveTo>
                <a:cubicBezTo>
                  <a:pt x="7316" y="16273"/>
                  <a:pt x="6346" y="16471"/>
                  <a:pt x="5478" y="16799"/>
                </a:cubicBezTo>
                <a:cubicBezTo>
                  <a:pt x="5163" y="15752"/>
                  <a:pt x="4964" y="14550"/>
                  <a:pt x="4923" y="13258"/>
                </a:cubicBezTo>
                <a:lnTo>
                  <a:pt x="8342" y="13258"/>
                </a:lnTo>
                <a:cubicBezTo>
                  <a:pt x="8342" y="13258"/>
                  <a:pt x="8342" y="16223"/>
                  <a:pt x="8342" y="16223"/>
                </a:cubicBezTo>
                <a:close/>
                <a:moveTo>
                  <a:pt x="8342" y="20544"/>
                </a:moveTo>
                <a:cubicBezTo>
                  <a:pt x="7318" y="20286"/>
                  <a:pt x="6419" y="19237"/>
                  <a:pt x="5799" y="17717"/>
                </a:cubicBezTo>
                <a:cubicBezTo>
                  <a:pt x="6564" y="17428"/>
                  <a:pt x="7427" y="17253"/>
                  <a:pt x="8342" y="17204"/>
                </a:cubicBezTo>
                <a:cubicBezTo>
                  <a:pt x="8342" y="17204"/>
                  <a:pt x="8342" y="20544"/>
                  <a:pt x="8342" y="20544"/>
                </a:cubicBezTo>
                <a:close/>
                <a:moveTo>
                  <a:pt x="3877" y="18831"/>
                </a:moveTo>
                <a:cubicBezTo>
                  <a:pt x="4188" y="18564"/>
                  <a:pt x="4544" y="18325"/>
                  <a:pt x="4935" y="18114"/>
                </a:cubicBezTo>
                <a:cubicBezTo>
                  <a:pt x="5264" y="18893"/>
                  <a:pt x="5661" y="19574"/>
                  <a:pt x="6115" y="20118"/>
                </a:cubicBezTo>
                <a:cubicBezTo>
                  <a:pt x="5295" y="19814"/>
                  <a:pt x="4541" y="19374"/>
                  <a:pt x="3877" y="18831"/>
                </a:cubicBezTo>
                <a:moveTo>
                  <a:pt x="1007" y="13258"/>
                </a:moveTo>
                <a:lnTo>
                  <a:pt x="3942" y="13258"/>
                </a:lnTo>
                <a:cubicBezTo>
                  <a:pt x="3986" y="14686"/>
                  <a:pt x="4217" y="16024"/>
                  <a:pt x="4591" y="17192"/>
                </a:cubicBezTo>
                <a:cubicBezTo>
                  <a:pt x="4057" y="17470"/>
                  <a:pt x="3582" y="17803"/>
                  <a:pt x="3166" y="18173"/>
                </a:cubicBezTo>
                <a:cubicBezTo>
                  <a:pt x="1927" y="16878"/>
                  <a:pt x="1126" y="15163"/>
                  <a:pt x="1007" y="13258"/>
                </a:cubicBezTo>
                <a:moveTo>
                  <a:pt x="3166" y="7354"/>
                </a:moveTo>
                <a:cubicBezTo>
                  <a:pt x="3582" y="7725"/>
                  <a:pt x="4057" y="8057"/>
                  <a:pt x="4591" y="8335"/>
                </a:cubicBezTo>
                <a:cubicBezTo>
                  <a:pt x="4217" y="9504"/>
                  <a:pt x="3986" y="10842"/>
                  <a:pt x="3942" y="12269"/>
                </a:cubicBezTo>
                <a:lnTo>
                  <a:pt x="1007" y="12269"/>
                </a:lnTo>
                <a:cubicBezTo>
                  <a:pt x="1126" y="10365"/>
                  <a:pt x="1927" y="8649"/>
                  <a:pt x="3166" y="7354"/>
                </a:cubicBezTo>
                <a:moveTo>
                  <a:pt x="6115" y="5410"/>
                </a:moveTo>
                <a:cubicBezTo>
                  <a:pt x="5661" y="5954"/>
                  <a:pt x="5264" y="6634"/>
                  <a:pt x="4935" y="7413"/>
                </a:cubicBezTo>
                <a:cubicBezTo>
                  <a:pt x="4544" y="7203"/>
                  <a:pt x="4188" y="6963"/>
                  <a:pt x="3877" y="6696"/>
                </a:cubicBezTo>
                <a:cubicBezTo>
                  <a:pt x="4542" y="6153"/>
                  <a:pt x="5295" y="5714"/>
                  <a:pt x="6115" y="5410"/>
                </a:cubicBezTo>
                <a:moveTo>
                  <a:pt x="8836" y="3927"/>
                </a:moveTo>
                <a:cubicBezTo>
                  <a:pt x="3956" y="3927"/>
                  <a:pt x="0" y="7883"/>
                  <a:pt x="0" y="12764"/>
                </a:cubicBezTo>
                <a:cubicBezTo>
                  <a:pt x="0" y="17644"/>
                  <a:pt x="3956" y="21600"/>
                  <a:pt x="8836" y="21600"/>
                </a:cubicBezTo>
                <a:cubicBezTo>
                  <a:pt x="13717" y="21600"/>
                  <a:pt x="17673" y="17644"/>
                  <a:pt x="17673" y="12764"/>
                </a:cubicBezTo>
                <a:cubicBezTo>
                  <a:pt x="17673" y="7883"/>
                  <a:pt x="13717" y="3927"/>
                  <a:pt x="8836" y="3927"/>
                </a:cubicBezTo>
              </a:path>
            </a:pathLst>
          </a:custGeom>
          <a:solidFill>
            <a:schemeClr val="bg2">
              <a:lumMod val="25000"/>
            </a:schemeClr>
          </a:solidFill>
          <a:ln w="12700">
            <a:solidFill>
              <a:schemeClr val="accent6"/>
            </a:solidFill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7" name="Shape 2946"/>
          <p:cNvSpPr/>
          <p:nvPr/>
        </p:nvSpPr>
        <p:spPr>
          <a:xfrm>
            <a:off x="1987065" y="1380308"/>
            <a:ext cx="332480" cy="3325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595" y="9980"/>
                </a:moveTo>
                <a:cubicBezTo>
                  <a:pt x="19587" y="9894"/>
                  <a:pt x="19575" y="9811"/>
                  <a:pt x="19565" y="9726"/>
                </a:cubicBezTo>
                <a:cubicBezTo>
                  <a:pt x="19542" y="9539"/>
                  <a:pt x="19514" y="9355"/>
                  <a:pt x="19480" y="9172"/>
                </a:cubicBezTo>
                <a:cubicBezTo>
                  <a:pt x="19463" y="9078"/>
                  <a:pt x="19444" y="8986"/>
                  <a:pt x="19424" y="8893"/>
                </a:cubicBezTo>
                <a:cubicBezTo>
                  <a:pt x="19384" y="8712"/>
                  <a:pt x="19337" y="8533"/>
                  <a:pt x="19286" y="8356"/>
                </a:cubicBezTo>
                <a:cubicBezTo>
                  <a:pt x="19263" y="8276"/>
                  <a:pt x="19244" y="8195"/>
                  <a:pt x="19218" y="8116"/>
                </a:cubicBezTo>
                <a:cubicBezTo>
                  <a:pt x="19143" y="7879"/>
                  <a:pt x="19057" y="7646"/>
                  <a:pt x="18963" y="7418"/>
                </a:cubicBezTo>
                <a:cubicBezTo>
                  <a:pt x="18923" y="7321"/>
                  <a:pt x="18876" y="7229"/>
                  <a:pt x="18833" y="7134"/>
                </a:cubicBezTo>
                <a:cubicBezTo>
                  <a:pt x="18771" y="6999"/>
                  <a:pt x="18708" y="6865"/>
                  <a:pt x="18640" y="6734"/>
                </a:cubicBezTo>
                <a:cubicBezTo>
                  <a:pt x="18580" y="6618"/>
                  <a:pt x="18516" y="6504"/>
                  <a:pt x="18450" y="6391"/>
                </a:cubicBezTo>
                <a:cubicBezTo>
                  <a:pt x="18392" y="6291"/>
                  <a:pt x="18331" y="6192"/>
                  <a:pt x="18269" y="6094"/>
                </a:cubicBezTo>
                <a:cubicBezTo>
                  <a:pt x="18192" y="5971"/>
                  <a:pt x="18114" y="5849"/>
                  <a:pt x="18031" y="5731"/>
                </a:cubicBezTo>
                <a:cubicBezTo>
                  <a:pt x="17986" y="5667"/>
                  <a:pt x="17936" y="5605"/>
                  <a:pt x="17889" y="5541"/>
                </a:cubicBezTo>
                <a:cubicBezTo>
                  <a:pt x="17544" y="5080"/>
                  <a:pt x="17159" y="4651"/>
                  <a:pt x="16732" y="4265"/>
                </a:cubicBezTo>
                <a:cubicBezTo>
                  <a:pt x="16705" y="4241"/>
                  <a:pt x="16679" y="4216"/>
                  <a:pt x="16652" y="4192"/>
                </a:cubicBezTo>
                <a:cubicBezTo>
                  <a:pt x="16499" y="4058"/>
                  <a:pt x="16343" y="3927"/>
                  <a:pt x="16181" y="3803"/>
                </a:cubicBezTo>
                <a:cubicBezTo>
                  <a:pt x="16173" y="3796"/>
                  <a:pt x="16165" y="3790"/>
                  <a:pt x="16156" y="3784"/>
                </a:cubicBezTo>
                <a:cubicBezTo>
                  <a:pt x="15459" y="3252"/>
                  <a:pt x="14680" y="2821"/>
                  <a:pt x="13842" y="2513"/>
                </a:cubicBezTo>
                <a:cubicBezTo>
                  <a:pt x="13592" y="2912"/>
                  <a:pt x="13337" y="3420"/>
                  <a:pt x="13040" y="3590"/>
                </a:cubicBezTo>
                <a:cubicBezTo>
                  <a:pt x="12610" y="3835"/>
                  <a:pt x="12641" y="4817"/>
                  <a:pt x="13469" y="4725"/>
                </a:cubicBezTo>
                <a:cubicBezTo>
                  <a:pt x="13469" y="4725"/>
                  <a:pt x="13224" y="4970"/>
                  <a:pt x="13469" y="5860"/>
                </a:cubicBezTo>
                <a:cubicBezTo>
                  <a:pt x="13715" y="6750"/>
                  <a:pt x="14126" y="6943"/>
                  <a:pt x="15341" y="6443"/>
                </a:cubicBezTo>
                <a:cubicBezTo>
                  <a:pt x="15862" y="6228"/>
                  <a:pt x="16258" y="6340"/>
                  <a:pt x="16200" y="6873"/>
                </a:cubicBezTo>
                <a:cubicBezTo>
                  <a:pt x="16077" y="8008"/>
                  <a:pt x="15202" y="7960"/>
                  <a:pt x="15862" y="9788"/>
                </a:cubicBezTo>
                <a:cubicBezTo>
                  <a:pt x="16261" y="10892"/>
                  <a:pt x="17243" y="11322"/>
                  <a:pt x="17611" y="12181"/>
                </a:cubicBezTo>
                <a:cubicBezTo>
                  <a:pt x="17814" y="12653"/>
                  <a:pt x="18591" y="13088"/>
                  <a:pt x="19250" y="13384"/>
                </a:cubicBezTo>
                <a:cubicBezTo>
                  <a:pt x="19321" y="13153"/>
                  <a:pt x="19380" y="12917"/>
                  <a:pt x="19432" y="12677"/>
                </a:cubicBezTo>
                <a:cubicBezTo>
                  <a:pt x="19452" y="12587"/>
                  <a:pt x="19467" y="12494"/>
                  <a:pt x="19484" y="12402"/>
                </a:cubicBezTo>
                <a:cubicBezTo>
                  <a:pt x="19517" y="12224"/>
                  <a:pt x="19545" y="12044"/>
                  <a:pt x="19566" y="11862"/>
                </a:cubicBezTo>
                <a:cubicBezTo>
                  <a:pt x="19576" y="11776"/>
                  <a:pt x="19588" y="11691"/>
                  <a:pt x="19596" y="11604"/>
                </a:cubicBezTo>
                <a:cubicBezTo>
                  <a:pt x="19620" y="11340"/>
                  <a:pt x="19636" y="11072"/>
                  <a:pt x="19636" y="10800"/>
                </a:cubicBezTo>
                <a:cubicBezTo>
                  <a:pt x="19636" y="10523"/>
                  <a:pt x="19620" y="10250"/>
                  <a:pt x="19595" y="9980"/>
                </a:cubicBezTo>
                <a:moveTo>
                  <a:pt x="10800" y="20618"/>
                </a:moveTo>
                <a:cubicBezTo>
                  <a:pt x="5377" y="20618"/>
                  <a:pt x="982" y="162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2" y="982"/>
                  <a:pt x="20618" y="5377"/>
                  <a:pt x="20618" y="10800"/>
                </a:cubicBezTo>
                <a:cubicBezTo>
                  <a:pt x="20618" y="16223"/>
                  <a:pt x="1622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6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6"/>
                  <a:pt x="16764" y="0"/>
                  <a:pt x="10800" y="0"/>
                </a:cubicBezTo>
                <a:moveTo>
                  <a:pt x="8407" y="9726"/>
                </a:moveTo>
                <a:cubicBezTo>
                  <a:pt x="8468" y="9020"/>
                  <a:pt x="9603" y="8284"/>
                  <a:pt x="10370" y="7947"/>
                </a:cubicBezTo>
                <a:cubicBezTo>
                  <a:pt x="11137" y="7609"/>
                  <a:pt x="11843" y="7486"/>
                  <a:pt x="11751" y="6903"/>
                </a:cubicBezTo>
                <a:cubicBezTo>
                  <a:pt x="11659" y="6320"/>
                  <a:pt x="11444" y="5891"/>
                  <a:pt x="10248" y="5891"/>
                </a:cubicBezTo>
                <a:cubicBezTo>
                  <a:pt x="9051" y="5891"/>
                  <a:pt x="9573" y="7486"/>
                  <a:pt x="8591" y="6535"/>
                </a:cubicBezTo>
                <a:cubicBezTo>
                  <a:pt x="7609" y="5584"/>
                  <a:pt x="8805" y="5830"/>
                  <a:pt x="9296" y="5615"/>
                </a:cubicBezTo>
                <a:cubicBezTo>
                  <a:pt x="9787" y="5400"/>
                  <a:pt x="10278" y="4510"/>
                  <a:pt x="9419" y="4449"/>
                </a:cubicBezTo>
                <a:cubicBezTo>
                  <a:pt x="8560" y="4388"/>
                  <a:pt x="8744" y="4817"/>
                  <a:pt x="8069" y="4572"/>
                </a:cubicBezTo>
                <a:cubicBezTo>
                  <a:pt x="7394" y="4326"/>
                  <a:pt x="7087" y="5431"/>
                  <a:pt x="6658" y="5277"/>
                </a:cubicBezTo>
                <a:cubicBezTo>
                  <a:pt x="6373" y="5176"/>
                  <a:pt x="5613" y="4605"/>
                  <a:pt x="5110" y="4044"/>
                </a:cubicBezTo>
                <a:cubicBezTo>
                  <a:pt x="4094" y="4900"/>
                  <a:pt x="3277" y="5982"/>
                  <a:pt x="2729" y="7212"/>
                </a:cubicBezTo>
                <a:cubicBezTo>
                  <a:pt x="2875" y="8862"/>
                  <a:pt x="3774" y="9726"/>
                  <a:pt x="3774" y="9726"/>
                </a:cubicBezTo>
                <a:cubicBezTo>
                  <a:pt x="3774" y="9726"/>
                  <a:pt x="4234" y="10800"/>
                  <a:pt x="6995" y="12119"/>
                </a:cubicBezTo>
                <a:cubicBezTo>
                  <a:pt x="6995" y="12119"/>
                  <a:pt x="7517" y="12150"/>
                  <a:pt x="6903" y="11536"/>
                </a:cubicBezTo>
                <a:cubicBezTo>
                  <a:pt x="6290" y="10923"/>
                  <a:pt x="5615" y="10156"/>
                  <a:pt x="6382" y="9757"/>
                </a:cubicBezTo>
                <a:cubicBezTo>
                  <a:pt x="7149" y="9358"/>
                  <a:pt x="7364" y="9389"/>
                  <a:pt x="7548" y="10125"/>
                </a:cubicBezTo>
                <a:cubicBezTo>
                  <a:pt x="7732" y="10861"/>
                  <a:pt x="8345" y="10432"/>
                  <a:pt x="8407" y="9726"/>
                </a:cubicBezTo>
                <a:moveTo>
                  <a:pt x="16246" y="12871"/>
                </a:moveTo>
                <a:cubicBezTo>
                  <a:pt x="15893" y="13086"/>
                  <a:pt x="15908" y="13561"/>
                  <a:pt x="16200" y="13822"/>
                </a:cubicBezTo>
                <a:cubicBezTo>
                  <a:pt x="16491" y="14083"/>
                  <a:pt x="17074" y="14420"/>
                  <a:pt x="17258" y="13822"/>
                </a:cubicBezTo>
                <a:cubicBezTo>
                  <a:pt x="17442" y="13224"/>
                  <a:pt x="16599" y="12656"/>
                  <a:pt x="16246" y="12871"/>
                </a:cubicBezTo>
                <a:moveTo>
                  <a:pt x="12027" y="12948"/>
                </a:moveTo>
                <a:cubicBezTo>
                  <a:pt x="10984" y="12058"/>
                  <a:pt x="11107" y="11659"/>
                  <a:pt x="9787" y="11659"/>
                </a:cubicBezTo>
                <a:cubicBezTo>
                  <a:pt x="8468" y="11659"/>
                  <a:pt x="7640" y="11966"/>
                  <a:pt x="7977" y="13807"/>
                </a:cubicBezTo>
                <a:cubicBezTo>
                  <a:pt x="8315" y="15648"/>
                  <a:pt x="9296" y="14819"/>
                  <a:pt x="9205" y="16231"/>
                </a:cubicBezTo>
                <a:cubicBezTo>
                  <a:pt x="9112" y="17642"/>
                  <a:pt x="9450" y="17949"/>
                  <a:pt x="9665" y="18286"/>
                </a:cubicBezTo>
                <a:cubicBezTo>
                  <a:pt x="9880" y="18624"/>
                  <a:pt x="10524" y="19606"/>
                  <a:pt x="10769" y="18225"/>
                </a:cubicBezTo>
                <a:cubicBezTo>
                  <a:pt x="11015" y="16844"/>
                  <a:pt x="11475" y="16077"/>
                  <a:pt x="11996" y="15402"/>
                </a:cubicBezTo>
                <a:cubicBezTo>
                  <a:pt x="12518" y="14727"/>
                  <a:pt x="13070" y="13837"/>
                  <a:pt x="12027" y="12948"/>
                </a:cubicBezTo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sp>
        <p:nvSpPr>
          <p:cNvPr id="28" name="Shape 2947"/>
          <p:cNvSpPr/>
          <p:nvPr/>
        </p:nvSpPr>
        <p:spPr>
          <a:xfrm>
            <a:off x="7057109" y="1343470"/>
            <a:ext cx="332480" cy="3325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367" y="17673"/>
                </a:moveTo>
                <a:lnTo>
                  <a:pt x="20127" y="17673"/>
                </a:lnTo>
                <a:cubicBezTo>
                  <a:pt x="20398" y="17673"/>
                  <a:pt x="20618" y="17453"/>
                  <a:pt x="20618" y="17182"/>
                </a:cubicBezTo>
                <a:cubicBezTo>
                  <a:pt x="20618" y="16910"/>
                  <a:pt x="20398" y="16691"/>
                  <a:pt x="20127" y="16691"/>
                </a:cubicBezTo>
                <a:lnTo>
                  <a:pt x="17182" y="16691"/>
                </a:lnTo>
                <a:cubicBezTo>
                  <a:pt x="16911" y="16691"/>
                  <a:pt x="16691" y="16910"/>
                  <a:pt x="16691" y="17182"/>
                </a:cubicBezTo>
                <a:lnTo>
                  <a:pt x="16691" y="20127"/>
                </a:lnTo>
                <a:cubicBezTo>
                  <a:pt x="16691" y="20399"/>
                  <a:pt x="16911" y="20618"/>
                  <a:pt x="17182" y="20618"/>
                </a:cubicBezTo>
                <a:cubicBezTo>
                  <a:pt x="17453" y="20618"/>
                  <a:pt x="17673" y="20399"/>
                  <a:pt x="17673" y="20127"/>
                </a:cubicBezTo>
                <a:lnTo>
                  <a:pt x="17673" y="18367"/>
                </a:lnTo>
                <a:lnTo>
                  <a:pt x="20762" y="21456"/>
                </a:lnTo>
                <a:cubicBezTo>
                  <a:pt x="20851" y="21545"/>
                  <a:pt x="20974" y="21600"/>
                  <a:pt x="21109" y="21600"/>
                </a:cubicBezTo>
                <a:cubicBezTo>
                  <a:pt x="21380" y="21600"/>
                  <a:pt x="21600" y="21380"/>
                  <a:pt x="21600" y="21109"/>
                </a:cubicBezTo>
                <a:cubicBezTo>
                  <a:pt x="21600" y="20974"/>
                  <a:pt x="21545" y="20851"/>
                  <a:pt x="21456" y="20762"/>
                </a:cubicBezTo>
                <a:cubicBezTo>
                  <a:pt x="21456" y="20762"/>
                  <a:pt x="18367" y="17673"/>
                  <a:pt x="18367" y="17673"/>
                </a:cubicBezTo>
                <a:close/>
                <a:moveTo>
                  <a:pt x="4418" y="16691"/>
                </a:moveTo>
                <a:lnTo>
                  <a:pt x="1473" y="16691"/>
                </a:lnTo>
                <a:cubicBezTo>
                  <a:pt x="1202" y="16691"/>
                  <a:pt x="982" y="16910"/>
                  <a:pt x="982" y="17182"/>
                </a:cubicBezTo>
                <a:cubicBezTo>
                  <a:pt x="982" y="17453"/>
                  <a:pt x="1202" y="17673"/>
                  <a:pt x="1473" y="17673"/>
                </a:cubicBezTo>
                <a:lnTo>
                  <a:pt x="3233" y="17673"/>
                </a:lnTo>
                <a:lnTo>
                  <a:pt x="144" y="20762"/>
                </a:lnTo>
                <a:cubicBezTo>
                  <a:pt x="55" y="20851"/>
                  <a:pt x="0" y="20974"/>
                  <a:pt x="0" y="21109"/>
                </a:cubicBezTo>
                <a:cubicBezTo>
                  <a:pt x="0" y="21380"/>
                  <a:pt x="220" y="21600"/>
                  <a:pt x="491" y="21600"/>
                </a:cubicBezTo>
                <a:cubicBezTo>
                  <a:pt x="626" y="21600"/>
                  <a:pt x="749" y="21545"/>
                  <a:pt x="838" y="21456"/>
                </a:cubicBezTo>
                <a:lnTo>
                  <a:pt x="3927" y="18367"/>
                </a:lnTo>
                <a:lnTo>
                  <a:pt x="3927" y="20127"/>
                </a:lnTo>
                <a:cubicBezTo>
                  <a:pt x="3927" y="20399"/>
                  <a:pt x="4147" y="20618"/>
                  <a:pt x="4418" y="20618"/>
                </a:cubicBezTo>
                <a:cubicBezTo>
                  <a:pt x="4689" y="20618"/>
                  <a:pt x="4909" y="20399"/>
                  <a:pt x="4909" y="20127"/>
                </a:cubicBezTo>
                <a:lnTo>
                  <a:pt x="4909" y="17182"/>
                </a:lnTo>
                <a:cubicBezTo>
                  <a:pt x="4909" y="16910"/>
                  <a:pt x="4689" y="16691"/>
                  <a:pt x="4418" y="16691"/>
                </a:cubicBezTo>
                <a:moveTo>
                  <a:pt x="14578" y="13923"/>
                </a:moveTo>
                <a:cubicBezTo>
                  <a:pt x="14366" y="13756"/>
                  <a:pt x="14123" y="13606"/>
                  <a:pt x="13863" y="13470"/>
                </a:cubicBezTo>
                <a:cubicBezTo>
                  <a:pt x="14060" y="12810"/>
                  <a:pt x="14189" y="12080"/>
                  <a:pt x="14228" y="11304"/>
                </a:cubicBezTo>
                <a:lnTo>
                  <a:pt x="15676" y="11304"/>
                </a:lnTo>
                <a:cubicBezTo>
                  <a:pt x="15574" y="12295"/>
                  <a:pt x="15177" y="13195"/>
                  <a:pt x="14578" y="13923"/>
                </a:cubicBezTo>
                <a:moveTo>
                  <a:pt x="13136" y="15120"/>
                </a:moveTo>
                <a:cubicBezTo>
                  <a:pt x="13280" y="14892"/>
                  <a:pt x="13410" y="14641"/>
                  <a:pt x="13529" y="14374"/>
                </a:cubicBezTo>
                <a:cubicBezTo>
                  <a:pt x="13660" y="14445"/>
                  <a:pt x="13781" y="14521"/>
                  <a:pt x="13893" y="14602"/>
                </a:cubicBezTo>
                <a:cubicBezTo>
                  <a:pt x="13656" y="14795"/>
                  <a:pt x="13407" y="14973"/>
                  <a:pt x="13136" y="15120"/>
                </a:cubicBezTo>
                <a:moveTo>
                  <a:pt x="11304" y="12785"/>
                </a:moveTo>
                <a:lnTo>
                  <a:pt x="11304" y="11304"/>
                </a:lnTo>
                <a:lnTo>
                  <a:pt x="13226" y="11304"/>
                </a:lnTo>
                <a:cubicBezTo>
                  <a:pt x="13193" y="11948"/>
                  <a:pt x="13093" y="12547"/>
                  <a:pt x="12949" y="13093"/>
                </a:cubicBezTo>
                <a:cubicBezTo>
                  <a:pt x="12443" y="12931"/>
                  <a:pt x="11890" y="12824"/>
                  <a:pt x="11304" y="12785"/>
                </a:cubicBezTo>
                <a:moveTo>
                  <a:pt x="11304" y="15605"/>
                </a:moveTo>
                <a:lnTo>
                  <a:pt x="11304" y="13766"/>
                </a:lnTo>
                <a:cubicBezTo>
                  <a:pt x="11784" y="13800"/>
                  <a:pt x="12233" y="13886"/>
                  <a:pt x="12642" y="14009"/>
                </a:cubicBezTo>
                <a:cubicBezTo>
                  <a:pt x="12301" y="14805"/>
                  <a:pt x="11837" y="15382"/>
                  <a:pt x="11304" y="15605"/>
                </a:cubicBezTo>
                <a:moveTo>
                  <a:pt x="11304" y="8815"/>
                </a:moveTo>
                <a:cubicBezTo>
                  <a:pt x="11890" y="8776"/>
                  <a:pt x="12443" y="8669"/>
                  <a:pt x="12949" y="8507"/>
                </a:cubicBezTo>
                <a:cubicBezTo>
                  <a:pt x="13093" y="9053"/>
                  <a:pt x="13193" y="9652"/>
                  <a:pt x="13226" y="10297"/>
                </a:cubicBezTo>
                <a:lnTo>
                  <a:pt x="11304" y="10297"/>
                </a:lnTo>
                <a:cubicBezTo>
                  <a:pt x="11304" y="10297"/>
                  <a:pt x="11304" y="8815"/>
                  <a:pt x="11304" y="8815"/>
                </a:cubicBezTo>
                <a:close/>
                <a:moveTo>
                  <a:pt x="11304" y="5995"/>
                </a:moveTo>
                <a:cubicBezTo>
                  <a:pt x="11837" y="6218"/>
                  <a:pt x="12301" y="6795"/>
                  <a:pt x="12642" y="7591"/>
                </a:cubicBezTo>
                <a:cubicBezTo>
                  <a:pt x="12233" y="7714"/>
                  <a:pt x="11784" y="7800"/>
                  <a:pt x="11304" y="7835"/>
                </a:cubicBezTo>
                <a:cubicBezTo>
                  <a:pt x="11304" y="7835"/>
                  <a:pt x="11304" y="5995"/>
                  <a:pt x="11304" y="5995"/>
                </a:cubicBezTo>
                <a:close/>
                <a:moveTo>
                  <a:pt x="13893" y="6998"/>
                </a:moveTo>
                <a:cubicBezTo>
                  <a:pt x="13781" y="7079"/>
                  <a:pt x="13660" y="7155"/>
                  <a:pt x="13529" y="7227"/>
                </a:cubicBezTo>
                <a:cubicBezTo>
                  <a:pt x="13410" y="6960"/>
                  <a:pt x="13280" y="6708"/>
                  <a:pt x="13136" y="6480"/>
                </a:cubicBezTo>
                <a:cubicBezTo>
                  <a:pt x="13407" y="6627"/>
                  <a:pt x="13656" y="6805"/>
                  <a:pt x="13893" y="6998"/>
                </a:cubicBezTo>
                <a:moveTo>
                  <a:pt x="15676" y="10297"/>
                </a:moveTo>
                <a:lnTo>
                  <a:pt x="14228" y="10297"/>
                </a:lnTo>
                <a:cubicBezTo>
                  <a:pt x="14189" y="9520"/>
                  <a:pt x="14060" y="8790"/>
                  <a:pt x="13863" y="8130"/>
                </a:cubicBezTo>
                <a:cubicBezTo>
                  <a:pt x="14123" y="7994"/>
                  <a:pt x="14366" y="7844"/>
                  <a:pt x="14578" y="7677"/>
                </a:cubicBezTo>
                <a:cubicBezTo>
                  <a:pt x="15177" y="8405"/>
                  <a:pt x="15574" y="9305"/>
                  <a:pt x="15676" y="10297"/>
                </a:cubicBezTo>
                <a:moveTo>
                  <a:pt x="10296" y="7835"/>
                </a:moveTo>
                <a:cubicBezTo>
                  <a:pt x="9816" y="7800"/>
                  <a:pt x="9367" y="7714"/>
                  <a:pt x="8958" y="7591"/>
                </a:cubicBezTo>
                <a:cubicBezTo>
                  <a:pt x="9299" y="6795"/>
                  <a:pt x="9764" y="6218"/>
                  <a:pt x="10296" y="5995"/>
                </a:cubicBezTo>
                <a:cubicBezTo>
                  <a:pt x="10296" y="5995"/>
                  <a:pt x="10296" y="7835"/>
                  <a:pt x="10296" y="7835"/>
                </a:cubicBezTo>
                <a:close/>
                <a:moveTo>
                  <a:pt x="10296" y="10297"/>
                </a:moveTo>
                <a:lnTo>
                  <a:pt x="8374" y="10297"/>
                </a:lnTo>
                <a:cubicBezTo>
                  <a:pt x="8407" y="9652"/>
                  <a:pt x="8507" y="9053"/>
                  <a:pt x="8651" y="8507"/>
                </a:cubicBezTo>
                <a:cubicBezTo>
                  <a:pt x="9158" y="8669"/>
                  <a:pt x="9710" y="8776"/>
                  <a:pt x="10296" y="8815"/>
                </a:cubicBezTo>
                <a:cubicBezTo>
                  <a:pt x="10296" y="8815"/>
                  <a:pt x="10296" y="10297"/>
                  <a:pt x="10296" y="10297"/>
                </a:cubicBezTo>
                <a:close/>
                <a:moveTo>
                  <a:pt x="10296" y="12785"/>
                </a:moveTo>
                <a:cubicBezTo>
                  <a:pt x="9710" y="12824"/>
                  <a:pt x="9158" y="12931"/>
                  <a:pt x="8651" y="13093"/>
                </a:cubicBezTo>
                <a:cubicBezTo>
                  <a:pt x="8507" y="12547"/>
                  <a:pt x="8407" y="11948"/>
                  <a:pt x="8374" y="11304"/>
                </a:cubicBezTo>
                <a:lnTo>
                  <a:pt x="10296" y="11304"/>
                </a:lnTo>
                <a:cubicBezTo>
                  <a:pt x="10296" y="11304"/>
                  <a:pt x="10296" y="12785"/>
                  <a:pt x="10296" y="12785"/>
                </a:cubicBezTo>
                <a:close/>
                <a:moveTo>
                  <a:pt x="10296" y="15605"/>
                </a:moveTo>
                <a:cubicBezTo>
                  <a:pt x="9764" y="15382"/>
                  <a:pt x="9299" y="14805"/>
                  <a:pt x="8958" y="14009"/>
                </a:cubicBezTo>
                <a:cubicBezTo>
                  <a:pt x="9367" y="13886"/>
                  <a:pt x="9816" y="13800"/>
                  <a:pt x="10296" y="13766"/>
                </a:cubicBezTo>
                <a:cubicBezTo>
                  <a:pt x="10296" y="13766"/>
                  <a:pt x="10296" y="15605"/>
                  <a:pt x="10296" y="15605"/>
                </a:cubicBezTo>
                <a:close/>
                <a:moveTo>
                  <a:pt x="7707" y="14602"/>
                </a:moveTo>
                <a:cubicBezTo>
                  <a:pt x="7819" y="14521"/>
                  <a:pt x="7941" y="14445"/>
                  <a:pt x="8071" y="14374"/>
                </a:cubicBezTo>
                <a:cubicBezTo>
                  <a:pt x="8190" y="14641"/>
                  <a:pt x="8321" y="14892"/>
                  <a:pt x="8464" y="15120"/>
                </a:cubicBezTo>
                <a:cubicBezTo>
                  <a:pt x="8193" y="14973"/>
                  <a:pt x="7944" y="14795"/>
                  <a:pt x="7707" y="14602"/>
                </a:cubicBezTo>
                <a:moveTo>
                  <a:pt x="5925" y="11304"/>
                </a:moveTo>
                <a:lnTo>
                  <a:pt x="7372" y="11304"/>
                </a:lnTo>
                <a:cubicBezTo>
                  <a:pt x="7411" y="12080"/>
                  <a:pt x="7540" y="12810"/>
                  <a:pt x="7737" y="13470"/>
                </a:cubicBezTo>
                <a:cubicBezTo>
                  <a:pt x="7477" y="13606"/>
                  <a:pt x="7235" y="13756"/>
                  <a:pt x="7022" y="13923"/>
                </a:cubicBezTo>
                <a:cubicBezTo>
                  <a:pt x="6423" y="13195"/>
                  <a:pt x="6026" y="12295"/>
                  <a:pt x="5925" y="11304"/>
                </a:cubicBezTo>
                <a:moveTo>
                  <a:pt x="7022" y="7677"/>
                </a:moveTo>
                <a:cubicBezTo>
                  <a:pt x="7235" y="7844"/>
                  <a:pt x="7477" y="7994"/>
                  <a:pt x="7737" y="8130"/>
                </a:cubicBezTo>
                <a:cubicBezTo>
                  <a:pt x="7540" y="8790"/>
                  <a:pt x="7411" y="9520"/>
                  <a:pt x="7372" y="10297"/>
                </a:cubicBezTo>
                <a:lnTo>
                  <a:pt x="5925" y="10297"/>
                </a:lnTo>
                <a:cubicBezTo>
                  <a:pt x="6026" y="9305"/>
                  <a:pt x="6423" y="8405"/>
                  <a:pt x="7022" y="7677"/>
                </a:cubicBezTo>
                <a:moveTo>
                  <a:pt x="8464" y="6480"/>
                </a:moveTo>
                <a:cubicBezTo>
                  <a:pt x="8321" y="6708"/>
                  <a:pt x="8190" y="6960"/>
                  <a:pt x="8071" y="7227"/>
                </a:cubicBezTo>
                <a:cubicBezTo>
                  <a:pt x="7941" y="7155"/>
                  <a:pt x="7819" y="7079"/>
                  <a:pt x="7707" y="6998"/>
                </a:cubicBezTo>
                <a:cubicBezTo>
                  <a:pt x="7944" y="6805"/>
                  <a:pt x="8193" y="6627"/>
                  <a:pt x="8464" y="6480"/>
                </a:cubicBezTo>
                <a:moveTo>
                  <a:pt x="10800" y="4909"/>
                </a:moveTo>
                <a:cubicBezTo>
                  <a:pt x="7546" y="4909"/>
                  <a:pt x="4909" y="7546"/>
                  <a:pt x="4909" y="10800"/>
                </a:cubicBezTo>
                <a:cubicBezTo>
                  <a:pt x="4909" y="14053"/>
                  <a:pt x="7546" y="16691"/>
                  <a:pt x="10800" y="16691"/>
                </a:cubicBezTo>
                <a:cubicBezTo>
                  <a:pt x="14053" y="16691"/>
                  <a:pt x="16691" y="14053"/>
                  <a:pt x="16691" y="10800"/>
                </a:cubicBezTo>
                <a:cubicBezTo>
                  <a:pt x="16691" y="7546"/>
                  <a:pt x="14053" y="4909"/>
                  <a:pt x="10800" y="4909"/>
                </a:cubicBezTo>
                <a:moveTo>
                  <a:pt x="3233" y="3927"/>
                </a:moveTo>
                <a:lnTo>
                  <a:pt x="1473" y="3927"/>
                </a:lnTo>
                <a:cubicBezTo>
                  <a:pt x="1202" y="3927"/>
                  <a:pt x="982" y="4147"/>
                  <a:pt x="982" y="4418"/>
                </a:cubicBezTo>
                <a:cubicBezTo>
                  <a:pt x="982" y="4690"/>
                  <a:pt x="1202" y="4909"/>
                  <a:pt x="1473" y="4909"/>
                </a:cubicBezTo>
                <a:lnTo>
                  <a:pt x="4418" y="4909"/>
                </a:lnTo>
                <a:cubicBezTo>
                  <a:pt x="4689" y="4909"/>
                  <a:pt x="4909" y="4690"/>
                  <a:pt x="4909" y="4418"/>
                </a:cubicBezTo>
                <a:lnTo>
                  <a:pt x="4909" y="1473"/>
                </a:lnTo>
                <a:cubicBezTo>
                  <a:pt x="4909" y="1201"/>
                  <a:pt x="4689" y="982"/>
                  <a:pt x="4418" y="982"/>
                </a:cubicBezTo>
                <a:cubicBezTo>
                  <a:pt x="4147" y="982"/>
                  <a:pt x="3927" y="1201"/>
                  <a:pt x="3927" y="1473"/>
                </a:cubicBezTo>
                <a:lnTo>
                  <a:pt x="3927" y="3233"/>
                </a:lnTo>
                <a:lnTo>
                  <a:pt x="838" y="144"/>
                </a:lnTo>
                <a:cubicBezTo>
                  <a:pt x="749" y="55"/>
                  <a:pt x="626" y="0"/>
                  <a:pt x="491" y="0"/>
                </a:cubicBezTo>
                <a:cubicBezTo>
                  <a:pt x="220" y="0"/>
                  <a:pt x="0" y="220"/>
                  <a:pt x="0" y="491"/>
                </a:cubicBezTo>
                <a:cubicBezTo>
                  <a:pt x="0" y="627"/>
                  <a:pt x="55" y="749"/>
                  <a:pt x="144" y="838"/>
                </a:cubicBezTo>
                <a:cubicBezTo>
                  <a:pt x="144" y="838"/>
                  <a:pt x="3233" y="3927"/>
                  <a:pt x="3233" y="3927"/>
                </a:cubicBezTo>
                <a:close/>
                <a:moveTo>
                  <a:pt x="17182" y="4909"/>
                </a:moveTo>
                <a:lnTo>
                  <a:pt x="20127" y="4909"/>
                </a:lnTo>
                <a:cubicBezTo>
                  <a:pt x="20398" y="4909"/>
                  <a:pt x="20618" y="4690"/>
                  <a:pt x="20618" y="4418"/>
                </a:cubicBezTo>
                <a:cubicBezTo>
                  <a:pt x="20618" y="4147"/>
                  <a:pt x="20398" y="3927"/>
                  <a:pt x="20127" y="3927"/>
                </a:cubicBezTo>
                <a:lnTo>
                  <a:pt x="18367" y="3927"/>
                </a:lnTo>
                <a:lnTo>
                  <a:pt x="21456" y="838"/>
                </a:lnTo>
                <a:cubicBezTo>
                  <a:pt x="21545" y="749"/>
                  <a:pt x="21600" y="627"/>
                  <a:pt x="21600" y="491"/>
                </a:cubicBezTo>
                <a:cubicBezTo>
                  <a:pt x="21600" y="220"/>
                  <a:pt x="21380" y="0"/>
                  <a:pt x="21109" y="0"/>
                </a:cubicBezTo>
                <a:cubicBezTo>
                  <a:pt x="20974" y="0"/>
                  <a:pt x="20851" y="55"/>
                  <a:pt x="20762" y="144"/>
                </a:cubicBezTo>
                <a:lnTo>
                  <a:pt x="17673" y="3233"/>
                </a:lnTo>
                <a:lnTo>
                  <a:pt x="17673" y="1473"/>
                </a:lnTo>
                <a:cubicBezTo>
                  <a:pt x="17673" y="1201"/>
                  <a:pt x="17453" y="982"/>
                  <a:pt x="17182" y="982"/>
                </a:cubicBezTo>
                <a:cubicBezTo>
                  <a:pt x="16911" y="982"/>
                  <a:pt x="16691" y="1201"/>
                  <a:pt x="16691" y="1473"/>
                </a:cubicBezTo>
                <a:lnTo>
                  <a:pt x="16691" y="4418"/>
                </a:lnTo>
                <a:cubicBezTo>
                  <a:pt x="16691" y="4690"/>
                  <a:pt x="16911" y="4909"/>
                  <a:pt x="17182" y="4909"/>
                </a:cubicBezTo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lIns="14282" tIns="14282" rIns="14282" bIns="14282" anchor="ctr"/>
          <a:lstStyle/>
          <a:p>
            <a:pPr marL="0" marR="0" lvl="0" indent="0" algn="l" defTabSz="1713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2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entury Gothic"/>
              <a:cs typeface="Century Gothic"/>
              <a:sym typeface="Gill Sans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401744" y="1095493"/>
            <a:ext cx="2337346" cy="1859828"/>
            <a:chOff x="9072496" y="2921596"/>
            <a:chExt cx="6233735" cy="4960187"/>
          </a:xfrm>
        </p:grpSpPr>
        <p:sp>
          <p:nvSpPr>
            <p:cNvPr id="5" name="Freeform 5"/>
            <p:cNvSpPr>
              <a:spLocks/>
            </p:cNvSpPr>
            <p:nvPr/>
          </p:nvSpPr>
          <p:spPr bwMode="auto">
            <a:xfrm>
              <a:off x="9072496" y="2921596"/>
              <a:ext cx="6233735" cy="4960187"/>
            </a:xfrm>
            <a:custGeom>
              <a:avLst/>
              <a:gdLst>
                <a:gd name="T0" fmla="*/ 210 w 813"/>
                <a:gd name="T1" fmla="*/ 442 h 647"/>
                <a:gd name="T2" fmla="*/ 262 w 813"/>
                <a:gd name="T3" fmla="*/ 436 h 647"/>
                <a:gd name="T4" fmla="*/ 245 w 813"/>
                <a:gd name="T5" fmla="*/ 463 h 647"/>
                <a:gd name="T6" fmla="*/ 145 w 813"/>
                <a:gd name="T7" fmla="*/ 456 h 647"/>
                <a:gd name="T8" fmla="*/ 138 w 813"/>
                <a:gd name="T9" fmla="*/ 437 h 647"/>
                <a:gd name="T10" fmla="*/ 265 w 813"/>
                <a:gd name="T11" fmla="*/ 246 h 647"/>
                <a:gd name="T12" fmla="*/ 26 w 813"/>
                <a:gd name="T13" fmla="*/ 227 h 647"/>
                <a:gd name="T14" fmla="*/ 52 w 813"/>
                <a:gd name="T15" fmla="*/ 248 h 647"/>
                <a:gd name="T16" fmla="*/ 163 w 813"/>
                <a:gd name="T17" fmla="*/ 187 h 647"/>
                <a:gd name="T18" fmla="*/ 143 w 813"/>
                <a:gd name="T19" fmla="*/ 352 h 647"/>
                <a:gd name="T20" fmla="*/ 18 w 813"/>
                <a:gd name="T21" fmla="*/ 478 h 647"/>
                <a:gd name="T22" fmla="*/ 34 w 813"/>
                <a:gd name="T23" fmla="*/ 512 h 647"/>
                <a:gd name="T24" fmla="*/ 194 w 813"/>
                <a:gd name="T25" fmla="*/ 519 h 647"/>
                <a:gd name="T26" fmla="*/ 612 w 813"/>
                <a:gd name="T27" fmla="*/ 555 h 647"/>
                <a:gd name="T28" fmla="*/ 699 w 813"/>
                <a:gd name="T29" fmla="*/ 372 h 647"/>
                <a:gd name="T30" fmla="*/ 254 w 813"/>
                <a:gd name="T31" fmla="*/ 351 h 647"/>
                <a:gd name="T32" fmla="*/ 304 w 813"/>
                <a:gd name="T33" fmla="*/ 268 h 647"/>
                <a:gd name="T34" fmla="*/ 722 w 813"/>
                <a:gd name="T35" fmla="*/ 268 h 647"/>
                <a:gd name="T36" fmla="*/ 253 w 813"/>
                <a:gd name="T37" fmla="*/ 68 h 647"/>
                <a:gd name="T38" fmla="*/ 229 w 813"/>
                <a:gd name="T39" fmla="*/ 98 h 647"/>
                <a:gd name="T40" fmla="*/ 211 w 813"/>
                <a:gd name="T41" fmla="*/ 73 h 647"/>
                <a:gd name="T42" fmla="*/ 248 w 813"/>
                <a:gd name="T43" fmla="*/ 57 h 647"/>
                <a:gd name="T44" fmla="*/ 632 w 813"/>
                <a:gd name="T45" fmla="*/ 85 h 647"/>
                <a:gd name="T46" fmla="*/ 748 w 813"/>
                <a:gd name="T47" fmla="*/ 268 h 647"/>
                <a:gd name="T48" fmla="*/ 772 w 813"/>
                <a:gd name="T49" fmla="*/ 366 h 647"/>
                <a:gd name="T50" fmla="*/ 729 w 813"/>
                <a:gd name="T51" fmla="*/ 389 h 647"/>
                <a:gd name="T52" fmla="*/ 224 w 813"/>
                <a:gd name="T53" fmla="*/ 565 h 647"/>
                <a:gd name="T54" fmla="*/ 127 w 813"/>
                <a:gd name="T55" fmla="*/ 523 h 647"/>
                <a:gd name="T56" fmla="*/ 0 w 813"/>
                <a:gd name="T57" fmla="*/ 503 h 647"/>
                <a:gd name="T58" fmla="*/ 166 w 813"/>
                <a:gd name="T59" fmla="*/ 305 h 647"/>
                <a:gd name="T60" fmla="*/ 149 w 813"/>
                <a:gd name="T61" fmla="*/ 196 h 647"/>
                <a:gd name="T62" fmla="*/ 73 w 813"/>
                <a:gd name="T63" fmla="*/ 260 h 647"/>
                <a:gd name="T64" fmla="*/ 13 w 813"/>
                <a:gd name="T65" fmla="*/ 234 h 647"/>
                <a:gd name="T66" fmla="*/ 276 w 813"/>
                <a:gd name="T67" fmla="*/ 229 h 647"/>
                <a:gd name="T68" fmla="*/ 183 w 813"/>
                <a:gd name="T69" fmla="*/ 408 h 6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13" h="647">
                  <a:moveTo>
                    <a:pt x="148" y="442"/>
                  </a:moveTo>
                  <a:cubicBezTo>
                    <a:pt x="173" y="442"/>
                    <a:pt x="192" y="442"/>
                    <a:pt x="210" y="442"/>
                  </a:cubicBezTo>
                  <a:cubicBezTo>
                    <a:pt x="221" y="442"/>
                    <a:pt x="232" y="444"/>
                    <a:pt x="242" y="434"/>
                  </a:cubicBezTo>
                  <a:cubicBezTo>
                    <a:pt x="247" y="429"/>
                    <a:pt x="256" y="430"/>
                    <a:pt x="262" y="436"/>
                  </a:cubicBezTo>
                  <a:cubicBezTo>
                    <a:pt x="268" y="442"/>
                    <a:pt x="268" y="451"/>
                    <a:pt x="264" y="458"/>
                  </a:cubicBezTo>
                  <a:cubicBezTo>
                    <a:pt x="260" y="466"/>
                    <a:pt x="250" y="467"/>
                    <a:pt x="245" y="463"/>
                  </a:cubicBezTo>
                  <a:cubicBezTo>
                    <a:pt x="230" y="451"/>
                    <a:pt x="213" y="457"/>
                    <a:pt x="197" y="456"/>
                  </a:cubicBezTo>
                  <a:cubicBezTo>
                    <a:pt x="180" y="455"/>
                    <a:pt x="163" y="456"/>
                    <a:pt x="145" y="456"/>
                  </a:cubicBezTo>
                  <a:cubicBezTo>
                    <a:pt x="140" y="456"/>
                    <a:pt x="134" y="456"/>
                    <a:pt x="131" y="451"/>
                  </a:cubicBezTo>
                  <a:cubicBezTo>
                    <a:pt x="129" y="445"/>
                    <a:pt x="134" y="441"/>
                    <a:pt x="138" y="437"/>
                  </a:cubicBezTo>
                  <a:cubicBezTo>
                    <a:pt x="159" y="415"/>
                    <a:pt x="181" y="394"/>
                    <a:pt x="201" y="371"/>
                  </a:cubicBezTo>
                  <a:cubicBezTo>
                    <a:pt x="233" y="334"/>
                    <a:pt x="257" y="295"/>
                    <a:pt x="265" y="246"/>
                  </a:cubicBezTo>
                  <a:cubicBezTo>
                    <a:pt x="272" y="203"/>
                    <a:pt x="231" y="143"/>
                    <a:pt x="184" y="132"/>
                  </a:cubicBezTo>
                  <a:cubicBezTo>
                    <a:pt x="112" y="116"/>
                    <a:pt x="43" y="150"/>
                    <a:pt x="26" y="227"/>
                  </a:cubicBezTo>
                  <a:cubicBezTo>
                    <a:pt x="23" y="241"/>
                    <a:pt x="24" y="251"/>
                    <a:pt x="42" y="248"/>
                  </a:cubicBezTo>
                  <a:cubicBezTo>
                    <a:pt x="45" y="248"/>
                    <a:pt x="49" y="248"/>
                    <a:pt x="52" y="248"/>
                  </a:cubicBezTo>
                  <a:cubicBezTo>
                    <a:pt x="71" y="250"/>
                    <a:pt x="84" y="249"/>
                    <a:pt x="90" y="224"/>
                  </a:cubicBezTo>
                  <a:cubicBezTo>
                    <a:pt x="99" y="191"/>
                    <a:pt x="133" y="177"/>
                    <a:pt x="163" y="187"/>
                  </a:cubicBezTo>
                  <a:cubicBezTo>
                    <a:pt x="196" y="198"/>
                    <a:pt x="209" y="223"/>
                    <a:pt x="201" y="259"/>
                  </a:cubicBezTo>
                  <a:cubicBezTo>
                    <a:pt x="193" y="297"/>
                    <a:pt x="168" y="325"/>
                    <a:pt x="143" y="352"/>
                  </a:cubicBezTo>
                  <a:cubicBezTo>
                    <a:pt x="107" y="389"/>
                    <a:pt x="70" y="425"/>
                    <a:pt x="34" y="461"/>
                  </a:cubicBezTo>
                  <a:cubicBezTo>
                    <a:pt x="29" y="467"/>
                    <a:pt x="23" y="472"/>
                    <a:pt x="18" y="478"/>
                  </a:cubicBezTo>
                  <a:cubicBezTo>
                    <a:pt x="10" y="487"/>
                    <a:pt x="12" y="498"/>
                    <a:pt x="14" y="507"/>
                  </a:cubicBezTo>
                  <a:cubicBezTo>
                    <a:pt x="17" y="516"/>
                    <a:pt x="27" y="512"/>
                    <a:pt x="34" y="512"/>
                  </a:cubicBezTo>
                  <a:cubicBezTo>
                    <a:pt x="82" y="512"/>
                    <a:pt x="130" y="512"/>
                    <a:pt x="178" y="512"/>
                  </a:cubicBezTo>
                  <a:cubicBezTo>
                    <a:pt x="185" y="511"/>
                    <a:pt x="190" y="514"/>
                    <a:pt x="194" y="519"/>
                  </a:cubicBezTo>
                  <a:cubicBezTo>
                    <a:pt x="244" y="575"/>
                    <a:pt x="306" y="609"/>
                    <a:pt x="379" y="619"/>
                  </a:cubicBezTo>
                  <a:cubicBezTo>
                    <a:pt x="465" y="629"/>
                    <a:pt x="545" y="612"/>
                    <a:pt x="612" y="555"/>
                  </a:cubicBezTo>
                  <a:cubicBezTo>
                    <a:pt x="676" y="500"/>
                    <a:pt x="699" y="458"/>
                    <a:pt x="720" y="374"/>
                  </a:cubicBezTo>
                  <a:cubicBezTo>
                    <a:pt x="713" y="370"/>
                    <a:pt x="706" y="372"/>
                    <a:pt x="699" y="372"/>
                  </a:cubicBezTo>
                  <a:cubicBezTo>
                    <a:pt x="555" y="372"/>
                    <a:pt x="412" y="372"/>
                    <a:pt x="269" y="372"/>
                  </a:cubicBezTo>
                  <a:cubicBezTo>
                    <a:pt x="246" y="372"/>
                    <a:pt x="246" y="372"/>
                    <a:pt x="254" y="351"/>
                  </a:cubicBezTo>
                  <a:cubicBezTo>
                    <a:pt x="263" y="328"/>
                    <a:pt x="273" y="306"/>
                    <a:pt x="281" y="283"/>
                  </a:cubicBezTo>
                  <a:cubicBezTo>
                    <a:pt x="285" y="271"/>
                    <a:pt x="292" y="268"/>
                    <a:pt x="304" y="268"/>
                  </a:cubicBezTo>
                  <a:cubicBezTo>
                    <a:pt x="436" y="268"/>
                    <a:pt x="567" y="268"/>
                    <a:pt x="698" y="268"/>
                  </a:cubicBezTo>
                  <a:cubicBezTo>
                    <a:pt x="706" y="268"/>
                    <a:pt x="713" y="268"/>
                    <a:pt x="722" y="268"/>
                  </a:cubicBezTo>
                  <a:cubicBezTo>
                    <a:pt x="690" y="135"/>
                    <a:pt x="612" y="51"/>
                    <a:pt x="480" y="22"/>
                  </a:cubicBezTo>
                  <a:cubicBezTo>
                    <a:pt x="399" y="4"/>
                    <a:pt x="323" y="22"/>
                    <a:pt x="253" y="68"/>
                  </a:cubicBezTo>
                  <a:cubicBezTo>
                    <a:pt x="250" y="70"/>
                    <a:pt x="244" y="73"/>
                    <a:pt x="246" y="75"/>
                  </a:cubicBezTo>
                  <a:cubicBezTo>
                    <a:pt x="263" y="100"/>
                    <a:pt x="239" y="94"/>
                    <a:pt x="229" y="98"/>
                  </a:cubicBezTo>
                  <a:cubicBezTo>
                    <a:pt x="221" y="100"/>
                    <a:pt x="209" y="107"/>
                    <a:pt x="204" y="101"/>
                  </a:cubicBezTo>
                  <a:cubicBezTo>
                    <a:pt x="195" y="92"/>
                    <a:pt x="206" y="82"/>
                    <a:pt x="211" y="73"/>
                  </a:cubicBezTo>
                  <a:cubicBezTo>
                    <a:pt x="215" y="64"/>
                    <a:pt x="216" y="44"/>
                    <a:pt x="235" y="63"/>
                  </a:cubicBezTo>
                  <a:cubicBezTo>
                    <a:pt x="239" y="67"/>
                    <a:pt x="244" y="59"/>
                    <a:pt x="248" y="57"/>
                  </a:cubicBezTo>
                  <a:cubicBezTo>
                    <a:pt x="306" y="19"/>
                    <a:pt x="370" y="0"/>
                    <a:pt x="439" y="4"/>
                  </a:cubicBezTo>
                  <a:cubicBezTo>
                    <a:pt x="512" y="9"/>
                    <a:pt x="577" y="35"/>
                    <a:pt x="632" y="85"/>
                  </a:cubicBezTo>
                  <a:cubicBezTo>
                    <a:pt x="682" y="131"/>
                    <a:pt x="716" y="186"/>
                    <a:pt x="730" y="253"/>
                  </a:cubicBezTo>
                  <a:cubicBezTo>
                    <a:pt x="731" y="262"/>
                    <a:pt x="735" y="270"/>
                    <a:pt x="748" y="268"/>
                  </a:cubicBezTo>
                  <a:cubicBezTo>
                    <a:pt x="768" y="267"/>
                    <a:pt x="789" y="268"/>
                    <a:pt x="813" y="268"/>
                  </a:cubicBezTo>
                  <a:cubicBezTo>
                    <a:pt x="799" y="302"/>
                    <a:pt x="786" y="334"/>
                    <a:pt x="772" y="366"/>
                  </a:cubicBezTo>
                  <a:cubicBezTo>
                    <a:pt x="768" y="377"/>
                    <a:pt x="757" y="372"/>
                    <a:pt x="749" y="372"/>
                  </a:cubicBezTo>
                  <a:cubicBezTo>
                    <a:pt x="736" y="371"/>
                    <a:pt x="731" y="376"/>
                    <a:pt x="729" y="389"/>
                  </a:cubicBezTo>
                  <a:cubicBezTo>
                    <a:pt x="708" y="502"/>
                    <a:pt x="601" y="607"/>
                    <a:pt x="489" y="628"/>
                  </a:cubicBezTo>
                  <a:cubicBezTo>
                    <a:pt x="390" y="647"/>
                    <a:pt x="303" y="625"/>
                    <a:pt x="224" y="565"/>
                  </a:cubicBezTo>
                  <a:cubicBezTo>
                    <a:pt x="222" y="563"/>
                    <a:pt x="220" y="561"/>
                    <a:pt x="218" y="559"/>
                  </a:cubicBezTo>
                  <a:cubicBezTo>
                    <a:pt x="196" y="526"/>
                    <a:pt x="164" y="520"/>
                    <a:pt x="127" y="523"/>
                  </a:cubicBezTo>
                  <a:cubicBezTo>
                    <a:pt x="92" y="526"/>
                    <a:pt x="56" y="523"/>
                    <a:pt x="21" y="524"/>
                  </a:cubicBezTo>
                  <a:cubicBezTo>
                    <a:pt x="5" y="524"/>
                    <a:pt x="1" y="518"/>
                    <a:pt x="0" y="503"/>
                  </a:cubicBezTo>
                  <a:cubicBezTo>
                    <a:pt x="0" y="486"/>
                    <a:pt x="5" y="473"/>
                    <a:pt x="17" y="461"/>
                  </a:cubicBezTo>
                  <a:cubicBezTo>
                    <a:pt x="68" y="410"/>
                    <a:pt x="122" y="362"/>
                    <a:pt x="166" y="305"/>
                  </a:cubicBezTo>
                  <a:cubicBezTo>
                    <a:pt x="179" y="288"/>
                    <a:pt x="188" y="270"/>
                    <a:pt x="190" y="247"/>
                  </a:cubicBezTo>
                  <a:cubicBezTo>
                    <a:pt x="192" y="217"/>
                    <a:pt x="176" y="200"/>
                    <a:pt x="149" y="196"/>
                  </a:cubicBezTo>
                  <a:cubicBezTo>
                    <a:pt x="126" y="193"/>
                    <a:pt x="99" y="214"/>
                    <a:pt x="98" y="239"/>
                  </a:cubicBezTo>
                  <a:cubicBezTo>
                    <a:pt x="97" y="258"/>
                    <a:pt x="89" y="262"/>
                    <a:pt x="73" y="260"/>
                  </a:cubicBezTo>
                  <a:cubicBezTo>
                    <a:pt x="61" y="259"/>
                    <a:pt x="49" y="260"/>
                    <a:pt x="37" y="260"/>
                  </a:cubicBezTo>
                  <a:cubicBezTo>
                    <a:pt x="10" y="260"/>
                    <a:pt x="9" y="260"/>
                    <a:pt x="13" y="234"/>
                  </a:cubicBezTo>
                  <a:cubicBezTo>
                    <a:pt x="26" y="152"/>
                    <a:pt x="94" y="105"/>
                    <a:pt x="174" y="118"/>
                  </a:cubicBezTo>
                  <a:cubicBezTo>
                    <a:pt x="230" y="127"/>
                    <a:pt x="270" y="170"/>
                    <a:pt x="276" y="229"/>
                  </a:cubicBezTo>
                  <a:cubicBezTo>
                    <a:pt x="280" y="268"/>
                    <a:pt x="263" y="305"/>
                    <a:pt x="241" y="338"/>
                  </a:cubicBezTo>
                  <a:cubicBezTo>
                    <a:pt x="224" y="363"/>
                    <a:pt x="205" y="387"/>
                    <a:pt x="183" y="408"/>
                  </a:cubicBezTo>
                  <a:cubicBezTo>
                    <a:pt x="173" y="418"/>
                    <a:pt x="162" y="428"/>
                    <a:pt x="148" y="442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1304296" y="5049884"/>
              <a:ext cx="3792131" cy="53354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Modern University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5989786" y="1106899"/>
            <a:ext cx="2205558" cy="1862363"/>
            <a:chOff x="15974842" y="2952016"/>
            <a:chExt cx="5882253" cy="4966947"/>
          </a:xfrm>
        </p:grpSpPr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15974842" y="2952016"/>
              <a:ext cx="5882253" cy="4966947"/>
            </a:xfrm>
            <a:custGeom>
              <a:avLst/>
              <a:gdLst>
                <a:gd name="T0" fmla="*/ 730 w 767"/>
                <a:gd name="T1" fmla="*/ 358 h 648"/>
                <a:gd name="T2" fmla="*/ 693 w 767"/>
                <a:gd name="T3" fmla="*/ 381 h 648"/>
                <a:gd name="T4" fmla="*/ 168 w 767"/>
                <a:gd name="T5" fmla="*/ 542 h 648"/>
                <a:gd name="T6" fmla="*/ 2 w 767"/>
                <a:gd name="T7" fmla="*/ 402 h 648"/>
                <a:gd name="T8" fmla="*/ 66 w 767"/>
                <a:gd name="T9" fmla="*/ 385 h 648"/>
                <a:gd name="T10" fmla="*/ 133 w 767"/>
                <a:gd name="T11" fmla="*/ 444 h 648"/>
                <a:gd name="T12" fmla="*/ 135 w 767"/>
                <a:gd name="T13" fmla="*/ 340 h 648"/>
                <a:gd name="T14" fmla="*/ 106 w 767"/>
                <a:gd name="T15" fmla="*/ 302 h 648"/>
                <a:gd name="T16" fmla="*/ 174 w 767"/>
                <a:gd name="T17" fmla="*/ 217 h 648"/>
                <a:gd name="T18" fmla="*/ 109 w 767"/>
                <a:gd name="T19" fmla="*/ 206 h 648"/>
                <a:gd name="T20" fmla="*/ 30 w 767"/>
                <a:gd name="T21" fmla="*/ 224 h 648"/>
                <a:gd name="T22" fmla="*/ 105 w 767"/>
                <a:gd name="T23" fmla="*/ 113 h 648"/>
                <a:gd name="T24" fmla="*/ 252 w 767"/>
                <a:gd name="T25" fmla="*/ 252 h 648"/>
                <a:gd name="T26" fmla="*/ 213 w 767"/>
                <a:gd name="T27" fmla="*/ 304 h 648"/>
                <a:gd name="T28" fmla="*/ 210 w 767"/>
                <a:gd name="T29" fmla="*/ 273 h 648"/>
                <a:gd name="T30" fmla="*/ 171 w 767"/>
                <a:gd name="T31" fmla="*/ 124 h 648"/>
                <a:gd name="T32" fmla="*/ 31 w 767"/>
                <a:gd name="T33" fmla="*/ 212 h 648"/>
                <a:gd name="T34" fmla="*/ 99 w 767"/>
                <a:gd name="T35" fmla="*/ 198 h 648"/>
                <a:gd name="T36" fmla="*/ 185 w 767"/>
                <a:gd name="T37" fmla="*/ 213 h 648"/>
                <a:gd name="T38" fmla="*/ 118 w 767"/>
                <a:gd name="T39" fmla="*/ 296 h 648"/>
                <a:gd name="T40" fmla="*/ 134 w 767"/>
                <a:gd name="T41" fmla="*/ 328 h 648"/>
                <a:gd name="T42" fmla="*/ 202 w 767"/>
                <a:gd name="T43" fmla="*/ 418 h 648"/>
                <a:gd name="T44" fmla="*/ 78 w 767"/>
                <a:gd name="T45" fmla="*/ 410 h 648"/>
                <a:gd name="T46" fmla="*/ 15 w 767"/>
                <a:gd name="T47" fmla="*/ 400 h 648"/>
                <a:gd name="T48" fmla="*/ 201 w 767"/>
                <a:gd name="T49" fmla="*/ 558 h 648"/>
                <a:gd name="T50" fmla="*/ 571 w 767"/>
                <a:gd name="T51" fmla="*/ 555 h 648"/>
                <a:gd name="T52" fmla="*/ 667 w 767"/>
                <a:gd name="T53" fmla="*/ 368 h 648"/>
                <a:gd name="T54" fmla="*/ 263 w 767"/>
                <a:gd name="T55" fmla="*/ 368 h 648"/>
                <a:gd name="T56" fmla="*/ 277 w 767"/>
                <a:gd name="T57" fmla="*/ 282 h 648"/>
                <a:gd name="T58" fmla="*/ 661 w 767"/>
                <a:gd name="T59" fmla="*/ 264 h 648"/>
                <a:gd name="T60" fmla="*/ 446 w 767"/>
                <a:gd name="T61" fmla="*/ 20 h 648"/>
                <a:gd name="T62" fmla="*/ 219 w 767"/>
                <a:gd name="T63" fmla="*/ 79 h 648"/>
                <a:gd name="T64" fmla="*/ 170 w 767"/>
                <a:gd name="T65" fmla="*/ 90 h 648"/>
                <a:gd name="T66" fmla="*/ 193 w 767"/>
                <a:gd name="T67" fmla="*/ 47 h 648"/>
                <a:gd name="T68" fmla="*/ 383 w 767"/>
                <a:gd name="T69" fmla="*/ 1 h 648"/>
                <a:gd name="T70" fmla="*/ 722 w 767"/>
                <a:gd name="T71" fmla="*/ 264 h 6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7" h="648">
                  <a:moveTo>
                    <a:pt x="767" y="264"/>
                  </a:moveTo>
                  <a:cubicBezTo>
                    <a:pt x="754" y="297"/>
                    <a:pt x="742" y="328"/>
                    <a:pt x="730" y="358"/>
                  </a:cubicBezTo>
                  <a:cubicBezTo>
                    <a:pt x="726" y="368"/>
                    <a:pt x="719" y="369"/>
                    <a:pt x="711" y="368"/>
                  </a:cubicBezTo>
                  <a:cubicBezTo>
                    <a:pt x="701" y="367"/>
                    <a:pt x="696" y="368"/>
                    <a:pt x="693" y="381"/>
                  </a:cubicBezTo>
                  <a:cubicBezTo>
                    <a:pt x="659" y="513"/>
                    <a:pt x="576" y="599"/>
                    <a:pt x="442" y="626"/>
                  </a:cubicBezTo>
                  <a:cubicBezTo>
                    <a:pt x="338" y="648"/>
                    <a:pt x="243" y="619"/>
                    <a:pt x="168" y="542"/>
                  </a:cubicBezTo>
                  <a:cubicBezTo>
                    <a:pt x="148" y="521"/>
                    <a:pt x="125" y="526"/>
                    <a:pt x="104" y="521"/>
                  </a:cubicBezTo>
                  <a:cubicBezTo>
                    <a:pt x="36" y="504"/>
                    <a:pt x="11" y="458"/>
                    <a:pt x="2" y="402"/>
                  </a:cubicBezTo>
                  <a:cubicBezTo>
                    <a:pt x="0" y="391"/>
                    <a:pt x="4" y="385"/>
                    <a:pt x="16" y="385"/>
                  </a:cubicBezTo>
                  <a:cubicBezTo>
                    <a:pt x="32" y="386"/>
                    <a:pt x="49" y="387"/>
                    <a:pt x="66" y="385"/>
                  </a:cubicBezTo>
                  <a:cubicBezTo>
                    <a:pt x="82" y="384"/>
                    <a:pt x="87" y="392"/>
                    <a:pt x="90" y="406"/>
                  </a:cubicBezTo>
                  <a:cubicBezTo>
                    <a:pt x="96" y="430"/>
                    <a:pt x="112" y="443"/>
                    <a:pt x="133" y="444"/>
                  </a:cubicBezTo>
                  <a:cubicBezTo>
                    <a:pt x="164" y="446"/>
                    <a:pt x="181" y="437"/>
                    <a:pt x="191" y="414"/>
                  </a:cubicBezTo>
                  <a:cubicBezTo>
                    <a:pt x="206" y="380"/>
                    <a:pt x="178" y="343"/>
                    <a:pt x="135" y="340"/>
                  </a:cubicBezTo>
                  <a:cubicBezTo>
                    <a:pt x="106" y="338"/>
                    <a:pt x="106" y="338"/>
                    <a:pt x="106" y="308"/>
                  </a:cubicBezTo>
                  <a:cubicBezTo>
                    <a:pt x="106" y="306"/>
                    <a:pt x="106" y="304"/>
                    <a:pt x="106" y="302"/>
                  </a:cubicBezTo>
                  <a:cubicBezTo>
                    <a:pt x="106" y="268"/>
                    <a:pt x="106" y="268"/>
                    <a:pt x="140" y="259"/>
                  </a:cubicBezTo>
                  <a:cubicBezTo>
                    <a:pt x="160" y="254"/>
                    <a:pt x="177" y="233"/>
                    <a:pt x="174" y="217"/>
                  </a:cubicBezTo>
                  <a:cubicBezTo>
                    <a:pt x="171" y="205"/>
                    <a:pt x="163" y="196"/>
                    <a:pt x="152" y="193"/>
                  </a:cubicBezTo>
                  <a:cubicBezTo>
                    <a:pt x="136" y="189"/>
                    <a:pt x="117" y="191"/>
                    <a:pt x="109" y="206"/>
                  </a:cubicBezTo>
                  <a:cubicBezTo>
                    <a:pt x="99" y="225"/>
                    <a:pt x="85" y="225"/>
                    <a:pt x="68" y="224"/>
                  </a:cubicBezTo>
                  <a:cubicBezTo>
                    <a:pt x="56" y="223"/>
                    <a:pt x="43" y="223"/>
                    <a:pt x="30" y="224"/>
                  </a:cubicBezTo>
                  <a:cubicBezTo>
                    <a:pt x="18" y="225"/>
                    <a:pt x="16" y="219"/>
                    <a:pt x="18" y="210"/>
                  </a:cubicBezTo>
                  <a:cubicBezTo>
                    <a:pt x="28" y="161"/>
                    <a:pt x="56" y="127"/>
                    <a:pt x="105" y="113"/>
                  </a:cubicBezTo>
                  <a:cubicBezTo>
                    <a:pt x="162" y="97"/>
                    <a:pt x="216" y="117"/>
                    <a:pt x="246" y="167"/>
                  </a:cubicBezTo>
                  <a:cubicBezTo>
                    <a:pt x="263" y="194"/>
                    <a:pt x="262" y="223"/>
                    <a:pt x="252" y="252"/>
                  </a:cubicBezTo>
                  <a:cubicBezTo>
                    <a:pt x="247" y="267"/>
                    <a:pt x="233" y="277"/>
                    <a:pt x="232" y="294"/>
                  </a:cubicBezTo>
                  <a:cubicBezTo>
                    <a:pt x="231" y="302"/>
                    <a:pt x="222" y="305"/>
                    <a:pt x="213" y="304"/>
                  </a:cubicBezTo>
                  <a:cubicBezTo>
                    <a:pt x="203" y="304"/>
                    <a:pt x="200" y="295"/>
                    <a:pt x="199" y="289"/>
                  </a:cubicBezTo>
                  <a:cubicBezTo>
                    <a:pt x="198" y="283"/>
                    <a:pt x="202" y="273"/>
                    <a:pt x="210" y="273"/>
                  </a:cubicBezTo>
                  <a:cubicBezTo>
                    <a:pt x="237" y="273"/>
                    <a:pt x="241" y="251"/>
                    <a:pt x="245" y="234"/>
                  </a:cubicBezTo>
                  <a:cubicBezTo>
                    <a:pt x="257" y="186"/>
                    <a:pt x="220" y="134"/>
                    <a:pt x="171" y="124"/>
                  </a:cubicBezTo>
                  <a:cubicBezTo>
                    <a:pt x="133" y="116"/>
                    <a:pt x="98" y="122"/>
                    <a:pt x="67" y="147"/>
                  </a:cubicBezTo>
                  <a:cubicBezTo>
                    <a:pt x="46" y="164"/>
                    <a:pt x="37" y="186"/>
                    <a:pt x="31" y="212"/>
                  </a:cubicBezTo>
                  <a:cubicBezTo>
                    <a:pt x="44" y="212"/>
                    <a:pt x="56" y="211"/>
                    <a:pt x="68" y="212"/>
                  </a:cubicBezTo>
                  <a:cubicBezTo>
                    <a:pt x="81" y="213"/>
                    <a:pt x="91" y="210"/>
                    <a:pt x="99" y="198"/>
                  </a:cubicBezTo>
                  <a:cubicBezTo>
                    <a:pt x="112" y="180"/>
                    <a:pt x="133" y="177"/>
                    <a:pt x="153" y="181"/>
                  </a:cubicBezTo>
                  <a:cubicBezTo>
                    <a:pt x="169" y="184"/>
                    <a:pt x="180" y="196"/>
                    <a:pt x="185" y="213"/>
                  </a:cubicBezTo>
                  <a:cubicBezTo>
                    <a:pt x="191" y="236"/>
                    <a:pt x="168" y="268"/>
                    <a:pt x="139" y="271"/>
                  </a:cubicBezTo>
                  <a:cubicBezTo>
                    <a:pt x="119" y="273"/>
                    <a:pt x="116" y="281"/>
                    <a:pt x="118" y="296"/>
                  </a:cubicBezTo>
                  <a:cubicBezTo>
                    <a:pt x="118" y="301"/>
                    <a:pt x="118" y="305"/>
                    <a:pt x="118" y="310"/>
                  </a:cubicBezTo>
                  <a:cubicBezTo>
                    <a:pt x="117" y="322"/>
                    <a:pt x="120" y="328"/>
                    <a:pt x="134" y="328"/>
                  </a:cubicBezTo>
                  <a:cubicBezTo>
                    <a:pt x="157" y="329"/>
                    <a:pt x="176" y="338"/>
                    <a:pt x="192" y="356"/>
                  </a:cubicBezTo>
                  <a:cubicBezTo>
                    <a:pt x="208" y="374"/>
                    <a:pt x="211" y="396"/>
                    <a:pt x="202" y="418"/>
                  </a:cubicBezTo>
                  <a:cubicBezTo>
                    <a:pt x="193" y="442"/>
                    <a:pt x="175" y="455"/>
                    <a:pt x="149" y="456"/>
                  </a:cubicBezTo>
                  <a:cubicBezTo>
                    <a:pt x="109" y="457"/>
                    <a:pt x="94" y="447"/>
                    <a:pt x="78" y="410"/>
                  </a:cubicBezTo>
                  <a:cubicBezTo>
                    <a:pt x="75" y="403"/>
                    <a:pt x="73" y="400"/>
                    <a:pt x="66" y="400"/>
                  </a:cubicBezTo>
                  <a:cubicBezTo>
                    <a:pt x="49" y="400"/>
                    <a:pt x="32" y="400"/>
                    <a:pt x="15" y="400"/>
                  </a:cubicBezTo>
                  <a:cubicBezTo>
                    <a:pt x="23" y="458"/>
                    <a:pt x="51" y="504"/>
                    <a:pt x="110" y="508"/>
                  </a:cubicBezTo>
                  <a:cubicBezTo>
                    <a:pt x="152" y="511"/>
                    <a:pt x="174" y="536"/>
                    <a:pt x="201" y="558"/>
                  </a:cubicBezTo>
                  <a:cubicBezTo>
                    <a:pt x="245" y="591"/>
                    <a:pt x="295" y="610"/>
                    <a:pt x="350" y="617"/>
                  </a:cubicBezTo>
                  <a:cubicBezTo>
                    <a:pt x="433" y="627"/>
                    <a:pt x="507" y="605"/>
                    <a:pt x="571" y="555"/>
                  </a:cubicBezTo>
                  <a:cubicBezTo>
                    <a:pt x="628" y="511"/>
                    <a:pt x="665" y="452"/>
                    <a:pt x="681" y="381"/>
                  </a:cubicBezTo>
                  <a:cubicBezTo>
                    <a:pt x="685" y="367"/>
                    <a:pt x="676" y="368"/>
                    <a:pt x="667" y="368"/>
                  </a:cubicBezTo>
                  <a:cubicBezTo>
                    <a:pt x="585" y="368"/>
                    <a:pt x="504" y="368"/>
                    <a:pt x="423" y="368"/>
                  </a:cubicBezTo>
                  <a:cubicBezTo>
                    <a:pt x="369" y="368"/>
                    <a:pt x="316" y="367"/>
                    <a:pt x="263" y="368"/>
                  </a:cubicBezTo>
                  <a:cubicBezTo>
                    <a:pt x="245" y="369"/>
                    <a:pt x="244" y="363"/>
                    <a:pt x="250" y="349"/>
                  </a:cubicBezTo>
                  <a:cubicBezTo>
                    <a:pt x="260" y="327"/>
                    <a:pt x="270" y="305"/>
                    <a:pt x="277" y="282"/>
                  </a:cubicBezTo>
                  <a:cubicBezTo>
                    <a:pt x="282" y="267"/>
                    <a:pt x="290" y="263"/>
                    <a:pt x="305" y="264"/>
                  </a:cubicBezTo>
                  <a:cubicBezTo>
                    <a:pt x="423" y="264"/>
                    <a:pt x="542" y="264"/>
                    <a:pt x="661" y="264"/>
                  </a:cubicBezTo>
                  <a:cubicBezTo>
                    <a:pt x="680" y="265"/>
                    <a:pt x="684" y="260"/>
                    <a:pt x="678" y="242"/>
                  </a:cubicBezTo>
                  <a:cubicBezTo>
                    <a:pt x="643" y="123"/>
                    <a:pt x="567" y="48"/>
                    <a:pt x="446" y="20"/>
                  </a:cubicBezTo>
                  <a:cubicBezTo>
                    <a:pt x="370" y="3"/>
                    <a:pt x="298" y="16"/>
                    <a:pt x="231" y="56"/>
                  </a:cubicBezTo>
                  <a:cubicBezTo>
                    <a:pt x="224" y="60"/>
                    <a:pt x="212" y="60"/>
                    <a:pt x="219" y="79"/>
                  </a:cubicBezTo>
                  <a:cubicBezTo>
                    <a:pt x="223" y="92"/>
                    <a:pt x="195" y="87"/>
                    <a:pt x="182" y="93"/>
                  </a:cubicBezTo>
                  <a:cubicBezTo>
                    <a:pt x="177" y="97"/>
                    <a:pt x="172" y="98"/>
                    <a:pt x="170" y="90"/>
                  </a:cubicBezTo>
                  <a:cubicBezTo>
                    <a:pt x="169" y="86"/>
                    <a:pt x="186" y="49"/>
                    <a:pt x="190" y="48"/>
                  </a:cubicBezTo>
                  <a:cubicBezTo>
                    <a:pt x="191" y="47"/>
                    <a:pt x="193" y="47"/>
                    <a:pt x="193" y="47"/>
                  </a:cubicBezTo>
                  <a:cubicBezTo>
                    <a:pt x="210" y="65"/>
                    <a:pt x="220" y="47"/>
                    <a:pt x="232" y="41"/>
                  </a:cubicBezTo>
                  <a:cubicBezTo>
                    <a:pt x="279" y="15"/>
                    <a:pt x="330" y="0"/>
                    <a:pt x="383" y="1"/>
                  </a:cubicBezTo>
                  <a:cubicBezTo>
                    <a:pt x="528" y="2"/>
                    <a:pt x="652" y="95"/>
                    <a:pt x="689" y="238"/>
                  </a:cubicBezTo>
                  <a:cubicBezTo>
                    <a:pt x="695" y="258"/>
                    <a:pt x="700" y="268"/>
                    <a:pt x="722" y="264"/>
                  </a:cubicBezTo>
                  <a:cubicBezTo>
                    <a:pt x="736" y="262"/>
                    <a:pt x="750" y="264"/>
                    <a:pt x="767" y="264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8386276" y="5088542"/>
              <a:ext cx="3223523" cy="584852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Great experts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992482" y="3033381"/>
            <a:ext cx="2288559" cy="1914324"/>
            <a:chOff x="5313976" y="8089970"/>
            <a:chExt cx="6103618" cy="5105528"/>
          </a:xfrm>
        </p:grpSpPr>
        <p:grpSp>
          <p:nvGrpSpPr>
            <p:cNvPr id="21" name="Group 20"/>
            <p:cNvGrpSpPr/>
            <p:nvPr/>
          </p:nvGrpSpPr>
          <p:grpSpPr>
            <a:xfrm>
              <a:off x="5313976" y="8089970"/>
              <a:ext cx="6103618" cy="5105528"/>
              <a:chOff x="6059553" y="7781468"/>
              <a:chExt cx="6103618" cy="5104937"/>
            </a:xfrm>
            <a:solidFill>
              <a:schemeClr val="accent5"/>
            </a:solidFill>
          </p:grpSpPr>
          <p:sp>
            <p:nvSpPr>
              <p:cNvPr id="10" name="Freeform 10"/>
              <p:cNvSpPr>
                <a:spLocks noEditPoints="1"/>
              </p:cNvSpPr>
              <p:nvPr/>
            </p:nvSpPr>
            <p:spPr bwMode="auto">
              <a:xfrm>
                <a:off x="6059553" y="7781468"/>
                <a:ext cx="6103618" cy="5104937"/>
              </a:xfrm>
              <a:custGeom>
                <a:avLst/>
                <a:gdLst>
                  <a:gd name="T0" fmla="*/ 260 w 796"/>
                  <a:gd name="T1" fmla="*/ 380 h 666"/>
                  <a:gd name="T2" fmla="*/ 281 w 796"/>
                  <a:gd name="T3" fmla="*/ 305 h 666"/>
                  <a:gd name="T4" fmla="*/ 308 w 796"/>
                  <a:gd name="T5" fmla="*/ 286 h 666"/>
                  <a:gd name="T6" fmla="*/ 690 w 796"/>
                  <a:gd name="T7" fmla="*/ 286 h 666"/>
                  <a:gd name="T8" fmla="*/ 712 w 796"/>
                  <a:gd name="T9" fmla="*/ 286 h 666"/>
                  <a:gd name="T10" fmla="*/ 457 w 796"/>
                  <a:gd name="T11" fmla="*/ 37 h 666"/>
                  <a:gd name="T12" fmla="*/ 260 w 796"/>
                  <a:gd name="T13" fmla="*/ 77 h 666"/>
                  <a:gd name="T14" fmla="*/ 251 w 796"/>
                  <a:gd name="T15" fmla="*/ 97 h 666"/>
                  <a:gd name="T16" fmla="*/ 251 w 796"/>
                  <a:gd name="T17" fmla="*/ 103 h 666"/>
                  <a:gd name="T18" fmla="*/ 202 w 796"/>
                  <a:gd name="T19" fmla="*/ 113 h 666"/>
                  <a:gd name="T20" fmla="*/ 201 w 796"/>
                  <a:gd name="T21" fmla="*/ 106 h 666"/>
                  <a:gd name="T22" fmla="*/ 219 w 796"/>
                  <a:gd name="T23" fmla="*/ 70 h 666"/>
                  <a:gd name="T24" fmla="*/ 228 w 796"/>
                  <a:gd name="T25" fmla="*/ 68 h 666"/>
                  <a:gd name="T26" fmla="*/ 251 w 796"/>
                  <a:gd name="T27" fmla="*/ 68 h 666"/>
                  <a:gd name="T28" fmla="*/ 605 w 796"/>
                  <a:gd name="T29" fmla="*/ 87 h 666"/>
                  <a:gd name="T30" fmla="*/ 722 w 796"/>
                  <a:gd name="T31" fmla="*/ 272 h 666"/>
                  <a:gd name="T32" fmla="*/ 741 w 796"/>
                  <a:gd name="T33" fmla="*/ 286 h 666"/>
                  <a:gd name="T34" fmla="*/ 781 w 796"/>
                  <a:gd name="T35" fmla="*/ 286 h 666"/>
                  <a:gd name="T36" fmla="*/ 793 w 796"/>
                  <a:gd name="T37" fmla="*/ 301 h 666"/>
                  <a:gd name="T38" fmla="*/ 773 w 796"/>
                  <a:gd name="T39" fmla="*/ 373 h 666"/>
                  <a:gd name="T40" fmla="*/ 749 w 796"/>
                  <a:gd name="T41" fmla="*/ 390 h 666"/>
                  <a:gd name="T42" fmla="*/ 721 w 796"/>
                  <a:gd name="T43" fmla="*/ 412 h 666"/>
                  <a:gd name="T44" fmla="*/ 463 w 796"/>
                  <a:gd name="T45" fmla="*/ 649 h 666"/>
                  <a:gd name="T46" fmla="*/ 178 w 796"/>
                  <a:gd name="T47" fmla="*/ 544 h 666"/>
                  <a:gd name="T48" fmla="*/ 173 w 796"/>
                  <a:gd name="T49" fmla="*/ 525 h 666"/>
                  <a:gd name="T50" fmla="*/ 116 w 796"/>
                  <a:gd name="T51" fmla="*/ 462 h 666"/>
                  <a:gd name="T52" fmla="*/ 20 w 796"/>
                  <a:gd name="T53" fmla="*/ 462 h 666"/>
                  <a:gd name="T54" fmla="*/ 4 w 796"/>
                  <a:gd name="T55" fmla="*/ 447 h 666"/>
                  <a:gd name="T56" fmla="*/ 33 w 796"/>
                  <a:gd name="T57" fmla="*/ 343 h 666"/>
                  <a:gd name="T58" fmla="*/ 162 w 796"/>
                  <a:gd name="T59" fmla="*/ 152 h 666"/>
                  <a:gd name="T60" fmla="*/ 194 w 796"/>
                  <a:gd name="T61" fmla="*/ 134 h 666"/>
                  <a:gd name="T62" fmla="*/ 236 w 796"/>
                  <a:gd name="T63" fmla="*/ 134 h 666"/>
                  <a:gd name="T64" fmla="*/ 257 w 796"/>
                  <a:gd name="T65" fmla="*/ 155 h 666"/>
                  <a:gd name="T66" fmla="*/ 257 w 796"/>
                  <a:gd name="T67" fmla="*/ 363 h 666"/>
                  <a:gd name="T68" fmla="*/ 257 w 796"/>
                  <a:gd name="T69" fmla="*/ 379 h 666"/>
                  <a:gd name="T70" fmla="*/ 260 w 796"/>
                  <a:gd name="T71" fmla="*/ 380 h 666"/>
                  <a:gd name="T72" fmla="*/ 712 w 796"/>
                  <a:gd name="T73" fmla="*/ 390 h 666"/>
                  <a:gd name="T74" fmla="*/ 279 w 796"/>
                  <a:gd name="T75" fmla="*/ 390 h 666"/>
                  <a:gd name="T76" fmla="*/ 266 w 796"/>
                  <a:gd name="T77" fmla="*/ 403 h 666"/>
                  <a:gd name="T78" fmla="*/ 247 w 796"/>
                  <a:gd name="T79" fmla="*/ 417 h 666"/>
                  <a:gd name="T80" fmla="*/ 235 w 796"/>
                  <a:gd name="T81" fmla="*/ 394 h 666"/>
                  <a:gd name="T82" fmla="*/ 242 w 796"/>
                  <a:gd name="T83" fmla="*/ 350 h 666"/>
                  <a:gd name="T84" fmla="*/ 242 w 796"/>
                  <a:gd name="T85" fmla="*/ 186 h 666"/>
                  <a:gd name="T86" fmla="*/ 204 w 796"/>
                  <a:gd name="T87" fmla="*/ 148 h 666"/>
                  <a:gd name="T88" fmla="*/ 166 w 796"/>
                  <a:gd name="T89" fmla="*/ 167 h 666"/>
                  <a:gd name="T90" fmla="*/ 41 w 796"/>
                  <a:gd name="T91" fmla="*/ 355 h 666"/>
                  <a:gd name="T92" fmla="*/ 17 w 796"/>
                  <a:gd name="T93" fmla="*/ 434 h 666"/>
                  <a:gd name="T94" fmla="*/ 34 w 796"/>
                  <a:gd name="T95" fmla="*/ 450 h 666"/>
                  <a:gd name="T96" fmla="*/ 166 w 796"/>
                  <a:gd name="T97" fmla="*/ 450 h 666"/>
                  <a:gd name="T98" fmla="*/ 186 w 796"/>
                  <a:gd name="T99" fmla="*/ 469 h 666"/>
                  <a:gd name="T100" fmla="*/ 186 w 796"/>
                  <a:gd name="T101" fmla="*/ 523 h 666"/>
                  <a:gd name="T102" fmla="*/ 194 w 796"/>
                  <a:gd name="T103" fmla="*/ 544 h 666"/>
                  <a:gd name="T104" fmla="*/ 467 w 796"/>
                  <a:gd name="T105" fmla="*/ 635 h 666"/>
                  <a:gd name="T106" fmla="*/ 712 w 796"/>
                  <a:gd name="T107" fmla="*/ 390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796" h="666">
                    <a:moveTo>
                      <a:pt x="260" y="380"/>
                    </a:moveTo>
                    <a:cubicBezTo>
                      <a:pt x="268" y="355"/>
                      <a:pt x="276" y="330"/>
                      <a:pt x="281" y="305"/>
                    </a:cubicBezTo>
                    <a:cubicBezTo>
                      <a:pt x="285" y="289"/>
                      <a:pt x="292" y="285"/>
                      <a:pt x="308" y="286"/>
                    </a:cubicBezTo>
                    <a:cubicBezTo>
                      <a:pt x="435" y="286"/>
                      <a:pt x="563" y="286"/>
                      <a:pt x="690" y="286"/>
                    </a:cubicBezTo>
                    <a:cubicBezTo>
                      <a:pt x="697" y="286"/>
                      <a:pt x="704" y="286"/>
                      <a:pt x="712" y="286"/>
                    </a:cubicBezTo>
                    <a:cubicBezTo>
                      <a:pt x="694" y="159"/>
                      <a:pt x="585" y="54"/>
                      <a:pt x="457" y="37"/>
                    </a:cubicBezTo>
                    <a:cubicBezTo>
                      <a:pt x="386" y="28"/>
                      <a:pt x="321" y="42"/>
                      <a:pt x="260" y="77"/>
                    </a:cubicBezTo>
                    <a:cubicBezTo>
                      <a:pt x="251" y="82"/>
                      <a:pt x="243" y="86"/>
                      <a:pt x="251" y="97"/>
                    </a:cubicBezTo>
                    <a:cubicBezTo>
                      <a:pt x="252" y="99"/>
                      <a:pt x="252" y="101"/>
                      <a:pt x="251" y="103"/>
                    </a:cubicBezTo>
                    <a:cubicBezTo>
                      <a:pt x="248" y="109"/>
                      <a:pt x="208" y="117"/>
                      <a:pt x="202" y="113"/>
                    </a:cubicBezTo>
                    <a:cubicBezTo>
                      <a:pt x="200" y="111"/>
                      <a:pt x="200" y="108"/>
                      <a:pt x="201" y="106"/>
                    </a:cubicBezTo>
                    <a:cubicBezTo>
                      <a:pt x="207" y="94"/>
                      <a:pt x="213" y="82"/>
                      <a:pt x="219" y="70"/>
                    </a:cubicBezTo>
                    <a:cubicBezTo>
                      <a:pt x="221" y="66"/>
                      <a:pt x="226" y="64"/>
                      <a:pt x="228" y="68"/>
                    </a:cubicBezTo>
                    <a:cubicBezTo>
                      <a:pt x="236" y="83"/>
                      <a:pt x="244" y="73"/>
                      <a:pt x="251" y="68"/>
                    </a:cubicBezTo>
                    <a:cubicBezTo>
                      <a:pt x="361" y="0"/>
                      <a:pt x="502" y="7"/>
                      <a:pt x="605" y="87"/>
                    </a:cubicBezTo>
                    <a:cubicBezTo>
                      <a:pt x="667" y="134"/>
                      <a:pt x="707" y="195"/>
                      <a:pt x="722" y="272"/>
                    </a:cubicBezTo>
                    <a:cubicBezTo>
                      <a:pt x="724" y="282"/>
                      <a:pt x="729" y="287"/>
                      <a:pt x="741" y="286"/>
                    </a:cubicBezTo>
                    <a:cubicBezTo>
                      <a:pt x="754" y="285"/>
                      <a:pt x="768" y="287"/>
                      <a:pt x="781" y="286"/>
                    </a:cubicBezTo>
                    <a:cubicBezTo>
                      <a:pt x="794" y="285"/>
                      <a:pt x="796" y="290"/>
                      <a:pt x="793" y="301"/>
                    </a:cubicBezTo>
                    <a:cubicBezTo>
                      <a:pt x="786" y="325"/>
                      <a:pt x="779" y="349"/>
                      <a:pt x="773" y="373"/>
                    </a:cubicBezTo>
                    <a:cubicBezTo>
                      <a:pt x="769" y="386"/>
                      <a:pt x="764" y="393"/>
                      <a:pt x="749" y="390"/>
                    </a:cubicBezTo>
                    <a:cubicBezTo>
                      <a:pt x="733" y="387"/>
                      <a:pt x="725" y="393"/>
                      <a:pt x="721" y="412"/>
                    </a:cubicBezTo>
                    <a:cubicBezTo>
                      <a:pt x="689" y="540"/>
                      <a:pt x="590" y="630"/>
                      <a:pt x="463" y="649"/>
                    </a:cubicBezTo>
                    <a:cubicBezTo>
                      <a:pt x="350" y="666"/>
                      <a:pt x="255" y="628"/>
                      <a:pt x="178" y="544"/>
                    </a:cubicBezTo>
                    <a:cubicBezTo>
                      <a:pt x="172" y="538"/>
                      <a:pt x="172" y="533"/>
                      <a:pt x="173" y="525"/>
                    </a:cubicBezTo>
                    <a:cubicBezTo>
                      <a:pt x="179" y="462"/>
                      <a:pt x="178" y="462"/>
                      <a:pt x="116" y="462"/>
                    </a:cubicBezTo>
                    <a:cubicBezTo>
                      <a:pt x="84" y="462"/>
                      <a:pt x="52" y="461"/>
                      <a:pt x="20" y="462"/>
                    </a:cubicBezTo>
                    <a:cubicBezTo>
                      <a:pt x="8" y="463"/>
                      <a:pt x="5" y="459"/>
                      <a:pt x="4" y="447"/>
                    </a:cubicBezTo>
                    <a:cubicBezTo>
                      <a:pt x="0" y="408"/>
                      <a:pt x="9" y="376"/>
                      <a:pt x="33" y="343"/>
                    </a:cubicBezTo>
                    <a:cubicBezTo>
                      <a:pt x="79" y="281"/>
                      <a:pt x="120" y="216"/>
                      <a:pt x="162" y="152"/>
                    </a:cubicBezTo>
                    <a:cubicBezTo>
                      <a:pt x="170" y="140"/>
                      <a:pt x="179" y="132"/>
                      <a:pt x="194" y="134"/>
                    </a:cubicBezTo>
                    <a:cubicBezTo>
                      <a:pt x="208" y="136"/>
                      <a:pt x="222" y="135"/>
                      <a:pt x="236" y="134"/>
                    </a:cubicBezTo>
                    <a:cubicBezTo>
                      <a:pt x="252" y="133"/>
                      <a:pt x="257" y="140"/>
                      <a:pt x="257" y="155"/>
                    </a:cubicBezTo>
                    <a:cubicBezTo>
                      <a:pt x="257" y="225"/>
                      <a:pt x="257" y="294"/>
                      <a:pt x="257" y="363"/>
                    </a:cubicBezTo>
                    <a:cubicBezTo>
                      <a:pt x="257" y="369"/>
                      <a:pt x="257" y="374"/>
                      <a:pt x="257" y="379"/>
                    </a:cubicBezTo>
                    <a:cubicBezTo>
                      <a:pt x="258" y="379"/>
                      <a:pt x="259" y="380"/>
                      <a:pt x="260" y="380"/>
                    </a:cubicBezTo>
                    <a:close/>
                    <a:moveTo>
                      <a:pt x="712" y="390"/>
                    </a:moveTo>
                    <a:cubicBezTo>
                      <a:pt x="567" y="390"/>
                      <a:pt x="423" y="390"/>
                      <a:pt x="279" y="390"/>
                    </a:cubicBezTo>
                    <a:cubicBezTo>
                      <a:pt x="269" y="390"/>
                      <a:pt x="266" y="392"/>
                      <a:pt x="266" y="403"/>
                    </a:cubicBezTo>
                    <a:cubicBezTo>
                      <a:pt x="266" y="414"/>
                      <a:pt x="257" y="420"/>
                      <a:pt x="247" y="417"/>
                    </a:cubicBezTo>
                    <a:cubicBezTo>
                      <a:pt x="235" y="415"/>
                      <a:pt x="229" y="403"/>
                      <a:pt x="235" y="394"/>
                    </a:cubicBezTo>
                    <a:cubicBezTo>
                      <a:pt x="245" y="380"/>
                      <a:pt x="242" y="365"/>
                      <a:pt x="242" y="350"/>
                    </a:cubicBezTo>
                    <a:cubicBezTo>
                      <a:pt x="242" y="296"/>
                      <a:pt x="242" y="241"/>
                      <a:pt x="242" y="186"/>
                    </a:cubicBezTo>
                    <a:cubicBezTo>
                      <a:pt x="242" y="148"/>
                      <a:pt x="242" y="149"/>
                      <a:pt x="204" y="148"/>
                    </a:cubicBezTo>
                    <a:cubicBezTo>
                      <a:pt x="186" y="147"/>
                      <a:pt x="176" y="153"/>
                      <a:pt x="166" y="167"/>
                    </a:cubicBezTo>
                    <a:cubicBezTo>
                      <a:pt x="125" y="230"/>
                      <a:pt x="84" y="293"/>
                      <a:pt x="41" y="355"/>
                    </a:cubicBezTo>
                    <a:cubicBezTo>
                      <a:pt x="23" y="379"/>
                      <a:pt x="15" y="404"/>
                      <a:pt x="17" y="434"/>
                    </a:cubicBezTo>
                    <a:cubicBezTo>
                      <a:pt x="18" y="447"/>
                      <a:pt x="21" y="451"/>
                      <a:pt x="34" y="450"/>
                    </a:cubicBezTo>
                    <a:cubicBezTo>
                      <a:pt x="78" y="449"/>
                      <a:pt x="122" y="450"/>
                      <a:pt x="166" y="450"/>
                    </a:cubicBezTo>
                    <a:cubicBezTo>
                      <a:pt x="181" y="449"/>
                      <a:pt x="187" y="454"/>
                      <a:pt x="186" y="469"/>
                    </a:cubicBezTo>
                    <a:cubicBezTo>
                      <a:pt x="185" y="487"/>
                      <a:pt x="186" y="505"/>
                      <a:pt x="186" y="523"/>
                    </a:cubicBezTo>
                    <a:cubicBezTo>
                      <a:pt x="186" y="531"/>
                      <a:pt x="188" y="538"/>
                      <a:pt x="194" y="544"/>
                    </a:cubicBezTo>
                    <a:cubicBezTo>
                      <a:pt x="269" y="622"/>
                      <a:pt x="361" y="650"/>
                      <a:pt x="467" y="635"/>
                    </a:cubicBezTo>
                    <a:cubicBezTo>
                      <a:pt x="593" y="616"/>
                      <a:pt x="692" y="512"/>
                      <a:pt x="712" y="3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4286" tIns="17143" rIns="34286" bIns="17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  <p:sp>
            <p:nvSpPr>
              <p:cNvPr id="19" name="Freeform 19"/>
              <p:cNvSpPr>
                <a:spLocks noEditPoints="1"/>
              </p:cNvSpPr>
              <p:nvPr/>
            </p:nvSpPr>
            <p:spPr bwMode="auto">
              <a:xfrm>
                <a:off x="6688165" y="9728137"/>
                <a:ext cx="797594" cy="1073034"/>
              </a:xfrm>
              <a:custGeom>
                <a:avLst/>
                <a:gdLst>
                  <a:gd name="T0" fmla="*/ 104 w 104"/>
                  <a:gd name="T1" fmla="*/ 71 h 140"/>
                  <a:gd name="T2" fmla="*/ 104 w 104"/>
                  <a:gd name="T3" fmla="*/ 125 h 140"/>
                  <a:gd name="T4" fmla="*/ 89 w 104"/>
                  <a:gd name="T5" fmla="*/ 140 h 140"/>
                  <a:gd name="T6" fmla="*/ 15 w 104"/>
                  <a:gd name="T7" fmla="*/ 140 h 140"/>
                  <a:gd name="T8" fmla="*/ 8 w 104"/>
                  <a:gd name="T9" fmla="*/ 126 h 140"/>
                  <a:gd name="T10" fmla="*/ 88 w 104"/>
                  <a:gd name="T11" fmla="*/ 7 h 140"/>
                  <a:gd name="T12" fmla="*/ 97 w 104"/>
                  <a:gd name="T13" fmla="*/ 1 h 140"/>
                  <a:gd name="T14" fmla="*/ 104 w 104"/>
                  <a:gd name="T15" fmla="*/ 13 h 140"/>
                  <a:gd name="T16" fmla="*/ 104 w 104"/>
                  <a:gd name="T17" fmla="*/ 71 h 140"/>
                  <a:gd name="T18" fmla="*/ 21 w 104"/>
                  <a:gd name="T19" fmla="*/ 128 h 140"/>
                  <a:gd name="T20" fmla="*/ 79 w 104"/>
                  <a:gd name="T21" fmla="*/ 128 h 140"/>
                  <a:gd name="T22" fmla="*/ 90 w 104"/>
                  <a:gd name="T23" fmla="*/ 119 h 140"/>
                  <a:gd name="T24" fmla="*/ 90 w 104"/>
                  <a:gd name="T25" fmla="*/ 34 h 140"/>
                  <a:gd name="T26" fmla="*/ 86 w 104"/>
                  <a:gd name="T27" fmla="*/ 33 h 140"/>
                  <a:gd name="T28" fmla="*/ 21 w 104"/>
                  <a:gd name="T29" fmla="*/ 128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04" h="140">
                    <a:moveTo>
                      <a:pt x="104" y="71"/>
                    </a:moveTo>
                    <a:cubicBezTo>
                      <a:pt x="104" y="89"/>
                      <a:pt x="104" y="107"/>
                      <a:pt x="104" y="125"/>
                    </a:cubicBezTo>
                    <a:cubicBezTo>
                      <a:pt x="104" y="136"/>
                      <a:pt x="100" y="140"/>
                      <a:pt x="89" y="140"/>
                    </a:cubicBezTo>
                    <a:cubicBezTo>
                      <a:pt x="64" y="140"/>
                      <a:pt x="40" y="140"/>
                      <a:pt x="15" y="140"/>
                    </a:cubicBezTo>
                    <a:cubicBezTo>
                      <a:pt x="4" y="140"/>
                      <a:pt x="0" y="137"/>
                      <a:pt x="8" y="126"/>
                    </a:cubicBezTo>
                    <a:cubicBezTo>
                      <a:pt x="35" y="87"/>
                      <a:pt x="61" y="47"/>
                      <a:pt x="88" y="7"/>
                    </a:cubicBezTo>
                    <a:cubicBezTo>
                      <a:pt x="90" y="4"/>
                      <a:pt x="92" y="0"/>
                      <a:pt x="97" y="1"/>
                    </a:cubicBezTo>
                    <a:cubicBezTo>
                      <a:pt x="103" y="2"/>
                      <a:pt x="104" y="8"/>
                      <a:pt x="104" y="13"/>
                    </a:cubicBezTo>
                    <a:cubicBezTo>
                      <a:pt x="104" y="33"/>
                      <a:pt x="104" y="52"/>
                      <a:pt x="104" y="71"/>
                    </a:cubicBezTo>
                    <a:close/>
                    <a:moveTo>
                      <a:pt x="21" y="128"/>
                    </a:moveTo>
                    <a:cubicBezTo>
                      <a:pt x="42" y="128"/>
                      <a:pt x="61" y="128"/>
                      <a:pt x="79" y="128"/>
                    </a:cubicBezTo>
                    <a:cubicBezTo>
                      <a:pt x="85" y="128"/>
                      <a:pt x="91" y="128"/>
                      <a:pt x="90" y="119"/>
                    </a:cubicBezTo>
                    <a:cubicBezTo>
                      <a:pt x="90" y="91"/>
                      <a:pt x="90" y="62"/>
                      <a:pt x="90" y="34"/>
                    </a:cubicBezTo>
                    <a:cubicBezTo>
                      <a:pt x="89" y="33"/>
                      <a:pt x="87" y="33"/>
                      <a:pt x="86" y="33"/>
                    </a:cubicBezTo>
                    <a:cubicBezTo>
                      <a:pt x="65" y="64"/>
                      <a:pt x="44" y="95"/>
                      <a:pt x="21" y="12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4286" tIns="17143" rIns="34286" bIns="1714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75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endParaRPr>
              </a:p>
            </p:txBody>
          </p:sp>
        </p:grpSp>
        <p:sp>
          <p:nvSpPr>
            <p:cNvPr id="38" name="TextBox 37"/>
            <p:cNvSpPr txBox="1"/>
            <p:nvPr/>
          </p:nvSpPr>
          <p:spPr>
            <a:xfrm>
              <a:off x="7801100" y="10387186"/>
              <a:ext cx="2864405" cy="58485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Scholarships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4693800" y="3082174"/>
            <a:ext cx="2233436" cy="1865531"/>
            <a:chOff x="12518428" y="8220102"/>
            <a:chExt cx="5956605" cy="4975396"/>
          </a:xfrm>
        </p:grpSpPr>
        <p:sp>
          <p:nvSpPr>
            <p:cNvPr id="6" name="Freeform 6"/>
            <p:cNvSpPr>
              <a:spLocks/>
            </p:cNvSpPr>
            <p:nvPr/>
          </p:nvSpPr>
          <p:spPr bwMode="auto">
            <a:xfrm>
              <a:off x="12518428" y="8220102"/>
              <a:ext cx="5956605" cy="4975396"/>
            </a:xfrm>
            <a:custGeom>
              <a:avLst/>
              <a:gdLst>
                <a:gd name="T0" fmla="*/ 117 w 777"/>
                <a:gd name="T1" fmla="*/ 507 h 649"/>
                <a:gd name="T2" fmla="*/ 581 w 777"/>
                <a:gd name="T3" fmla="*/ 554 h 649"/>
                <a:gd name="T4" fmla="*/ 671 w 777"/>
                <a:gd name="T5" fmla="*/ 371 h 649"/>
                <a:gd name="T6" fmla="*/ 238 w 777"/>
                <a:gd name="T7" fmla="*/ 350 h 649"/>
                <a:gd name="T8" fmla="*/ 290 w 777"/>
                <a:gd name="T9" fmla="*/ 267 h 649"/>
                <a:gd name="T10" fmla="*/ 689 w 777"/>
                <a:gd name="T11" fmla="*/ 267 h 649"/>
                <a:gd name="T12" fmla="*/ 451 w 777"/>
                <a:gd name="T13" fmla="*/ 21 h 649"/>
                <a:gd name="T14" fmla="*/ 214 w 777"/>
                <a:gd name="T15" fmla="*/ 78 h 649"/>
                <a:gd name="T16" fmla="*/ 171 w 777"/>
                <a:gd name="T17" fmla="*/ 102 h 649"/>
                <a:gd name="T18" fmla="*/ 186 w 777"/>
                <a:gd name="T19" fmla="*/ 60 h 649"/>
                <a:gd name="T20" fmla="*/ 215 w 777"/>
                <a:gd name="T21" fmla="*/ 58 h 649"/>
                <a:gd name="T22" fmla="*/ 667 w 777"/>
                <a:gd name="T23" fmla="*/ 168 h 649"/>
                <a:gd name="T24" fmla="*/ 715 w 777"/>
                <a:gd name="T25" fmla="*/ 267 h 649"/>
                <a:gd name="T26" fmla="*/ 774 w 777"/>
                <a:gd name="T27" fmla="*/ 279 h 649"/>
                <a:gd name="T28" fmla="*/ 719 w 777"/>
                <a:gd name="T29" fmla="*/ 371 h 649"/>
                <a:gd name="T30" fmla="*/ 454 w 777"/>
                <a:gd name="T31" fmla="*/ 627 h 649"/>
                <a:gd name="T32" fmla="*/ 171 w 777"/>
                <a:gd name="T33" fmla="*/ 543 h 649"/>
                <a:gd name="T34" fmla="*/ 3 w 777"/>
                <a:gd name="T35" fmla="*/ 423 h 649"/>
                <a:gd name="T36" fmla="*/ 54 w 777"/>
                <a:gd name="T37" fmla="*/ 403 h 649"/>
                <a:gd name="T38" fmla="*/ 168 w 777"/>
                <a:gd name="T39" fmla="*/ 431 h 649"/>
                <a:gd name="T40" fmla="*/ 114 w 777"/>
                <a:gd name="T41" fmla="*/ 340 h 649"/>
                <a:gd name="T42" fmla="*/ 36 w 777"/>
                <a:gd name="T43" fmla="*/ 340 h 649"/>
                <a:gd name="T44" fmla="*/ 75 w 777"/>
                <a:gd name="T45" fmla="*/ 128 h 649"/>
                <a:gd name="T46" fmla="*/ 255 w 777"/>
                <a:gd name="T47" fmla="*/ 115 h 649"/>
                <a:gd name="T48" fmla="*/ 212 w 777"/>
                <a:gd name="T49" fmla="*/ 195 h 649"/>
                <a:gd name="T50" fmla="*/ 139 w 777"/>
                <a:gd name="T51" fmla="*/ 212 h 649"/>
                <a:gd name="T52" fmla="*/ 168 w 777"/>
                <a:gd name="T53" fmla="*/ 251 h 649"/>
                <a:gd name="T54" fmla="*/ 222 w 777"/>
                <a:gd name="T55" fmla="*/ 266 h 649"/>
                <a:gd name="T56" fmla="*/ 194 w 777"/>
                <a:gd name="T57" fmla="*/ 280 h 649"/>
                <a:gd name="T58" fmla="*/ 119 w 777"/>
                <a:gd name="T59" fmla="*/ 244 h 649"/>
                <a:gd name="T60" fmla="*/ 194 w 777"/>
                <a:gd name="T61" fmla="*/ 183 h 649"/>
                <a:gd name="T62" fmla="*/ 259 w 777"/>
                <a:gd name="T63" fmla="*/ 159 h 649"/>
                <a:gd name="T64" fmla="*/ 102 w 777"/>
                <a:gd name="T65" fmla="*/ 127 h 649"/>
                <a:gd name="T66" fmla="*/ 48 w 777"/>
                <a:gd name="T67" fmla="*/ 313 h 649"/>
                <a:gd name="T68" fmla="*/ 114 w 777"/>
                <a:gd name="T69" fmla="*/ 327 h 649"/>
                <a:gd name="T70" fmla="*/ 202 w 777"/>
                <a:gd name="T71" fmla="*/ 398 h 649"/>
                <a:gd name="T72" fmla="*/ 86 w 777"/>
                <a:gd name="T73" fmla="*/ 427 h 649"/>
                <a:gd name="T74" fmla="*/ 16 w 777"/>
                <a:gd name="T75" fmla="*/ 418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77" h="649">
                  <a:moveTo>
                    <a:pt x="16" y="418"/>
                  </a:moveTo>
                  <a:cubicBezTo>
                    <a:pt x="28" y="467"/>
                    <a:pt x="69" y="504"/>
                    <a:pt x="117" y="507"/>
                  </a:cubicBezTo>
                  <a:cubicBezTo>
                    <a:pt x="144" y="508"/>
                    <a:pt x="164" y="517"/>
                    <a:pt x="184" y="537"/>
                  </a:cubicBezTo>
                  <a:cubicBezTo>
                    <a:pt x="287" y="641"/>
                    <a:pt x="465" y="649"/>
                    <a:pt x="581" y="554"/>
                  </a:cubicBezTo>
                  <a:cubicBezTo>
                    <a:pt x="633" y="512"/>
                    <a:pt x="669" y="456"/>
                    <a:pt x="686" y="390"/>
                  </a:cubicBezTo>
                  <a:cubicBezTo>
                    <a:pt x="689" y="376"/>
                    <a:pt x="687" y="370"/>
                    <a:pt x="671" y="371"/>
                  </a:cubicBezTo>
                  <a:cubicBezTo>
                    <a:pt x="531" y="371"/>
                    <a:pt x="392" y="371"/>
                    <a:pt x="253" y="371"/>
                  </a:cubicBezTo>
                  <a:cubicBezTo>
                    <a:pt x="230" y="371"/>
                    <a:pt x="230" y="371"/>
                    <a:pt x="238" y="350"/>
                  </a:cubicBezTo>
                  <a:cubicBezTo>
                    <a:pt x="246" y="330"/>
                    <a:pt x="255" y="309"/>
                    <a:pt x="261" y="288"/>
                  </a:cubicBezTo>
                  <a:cubicBezTo>
                    <a:pt x="265" y="271"/>
                    <a:pt x="273" y="266"/>
                    <a:pt x="290" y="267"/>
                  </a:cubicBezTo>
                  <a:cubicBezTo>
                    <a:pt x="415" y="267"/>
                    <a:pt x="541" y="267"/>
                    <a:pt x="666" y="267"/>
                  </a:cubicBezTo>
                  <a:cubicBezTo>
                    <a:pt x="673" y="267"/>
                    <a:pt x="680" y="267"/>
                    <a:pt x="689" y="267"/>
                  </a:cubicBezTo>
                  <a:cubicBezTo>
                    <a:pt x="680" y="214"/>
                    <a:pt x="658" y="168"/>
                    <a:pt x="625" y="127"/>
                  </a:cubicBezTo>
                  <a:cubicBezTo>
                    <a:pt x="579" y="71"/>
                    <a:pt x="522" y="35"/>
                    <a:pt x="451" y="21"/>
                  </a:cubicBezTo>
                  <a:cubicBezTo>
                    <a:pt x="369" y="4"/>
                    <a:pt x="293" y="20"/>
                    <a:pt x="223" y="66"/>
                  </a:cubicBezTo>
                  <a:cubicBezTo>
                    <a:pt x="219" y="69"/>
                    <a:pt x="213" y="71"/>
                    <a:pt x="214" y="78"/>
                  </a:cubicBezTo>
                  <a:cubicBezTo>
                    <a:pt x="215" y="84"/>
                    <a:pt x="225" y="91"/>
                    <a:pt x="215" y="94"/>
                  </a:cubicBezTo>
                  <a:cubicBezTo>
                    <a:pt x="200" y="98"/>
                    <a:pt x="186" y="105"/>
                    <a:pt x="171" y="102"/>
                  </a:cubicBezTo>
                  <a:cubicBezTo>
                    <a:pt x="170" y="102"/>
                    <a:pt x="169" y="101"/>
                    <a:pt x="169" y="101"/>
                  </a:cubicBezTo>
                  <a:cubicBezTo>
                    <a:pt x="170" y="85"/>
                    <a:pt x="179" y="73"/>
                    <a:pt x="186" y="60"/>
                  </a:cubicBezTo>
                  <a:cubicBezTo>
                    <a:pt x="189" y="52"/>
                    <a:pt x="194" y="55"/>
                    <a:pt x="199" y="60"/>
                  </a:cubicBezTo>
                  <a:cubicBezTo>
                    <a:pt x="205" y="67"/>
                    <a:pt x="210" y="61"/>
                    <a:pt x="215" y="58"/>
                  </a:cubicBezTo>
                  <a:cubicBezTo>
                    <a:pt x="271" y="21"/>
                    <a:pt x="331" y="0"/>
                    <a:pt x="399" y="3"/>
                  </a:cubicBezTo>
                  <a:cubicBezTo>
                    <a:pt x="518" y="9"/>
                    <a:pt x="608" y="64"/>
                    <a:pt x="667" y="168"/>
                  </a:cubicBezTo>
                  <a:cubicBezTo>
                    <a:pt x="682" y="195"/>
                    <a:pt x="694" y="223"/>
                    <a:pt x="699" y="254"/>
                  </a:cubicBezTo>
                  <a:cubicBezTo>
                    <a:pt x="701" y="264"/>
                    <a:pt x="705" y="267"/>
                    <a:pt x="715" y="267"/>
                  </a:cubicBezTo>
                  <a:cubicBezTo>
                    <a:pt x="732" y="267"/>
                    <a:pt x="748" y="267"/>
                    <a:pt x="765" y="267"/>
                  </a:cubicBezTo>
                  <a:cubicBezTo>
                    <a:pt x="775" y="267"/>
                    <a:pt x="777" y="271"/>
                    <a:pt x="774" y="279"/>
                  </a:cubicBezTo>
                  <a:cubicBezTo>
                    <a:pt x="763" y="307"/>
                    <a:pt x="753" y="334"/>
                    <a:pt x="743" y="362"/>
                  </a:cubicBezTo>
                  <a:cubicBezTo>
                    <a:pt x="738" y="375"/>
                    <a:pt x="727" y="371"/>
                    <a:pt x="719" y="371"/>
                  </a:cubicBezTo>
                  <a:cubicBezTo>
                    <a:pt x="706" y="370"/>
                    <a:pt x="702" y="373"/>
                    <a:pt x="698" y="387"/>
                  </a:cubicBezTo>
                  <a:cubicBezTo>
                    <a:pt x="671" y="508"/>
                    <a:pt x="574" y="603"/>
                    <a:pt x="454" y="627"/>
                  </a:cubicBezTo>
                  <a:cubicBezTo>
                    <a:pt x="362" y="646"/>
                    <a:pt x="278" y="625"/>
                    <a:pt x="202" y="570"/>
                  </a:cubicBezTo>
                  <a:cubicBezTo>
                    <a:pt x="191" y="562"/>
                    <a:pt x="178" y="554"/>
                    <a:pt x="171" y="543"/>
                  </a:cubicBezTo>
                  <a:cubicBezTo>
                    <a:pt x="158" y="521"/>
                    <a:pt x="138" y="521"/>
                    <a:pt x="117" y="519"/>
                  </a:cubicBezTo>
                  <a:cubicBezTo>
                    <a:pt x="66" y="515"/>
                    <a:pt x="15" y="473"/>
                    <a:pt x="3" y="423"/>
                  </a:cubicBezTo>
                  <a:cubicBezTo>
                    <a:pt x="0" y="410"/>
                    <a:pt x="3" y="401"/>
                    <a:pt x="20" y="403"/>
                  </a:cubicBezTo>
                  <a:cubicBezTo>
                    <a:pt x="31" y="404"/>
                    <a:pt x="43" y="403"/>
                    <a:pt x="54" y="403"/>
                  </a:cubicBezTo>
                  <a:cubicBezTo>
                    <a:pt x="73" y="403"/>
                    <a:pt x="89" y="402"/>
                    <a:pt x="100" y="424"/>
                  </a:cubicBezTo>
                  <a:cubicBezTo>
                    <a:pt x="110" y="443"/>
                    <a:pt x="151" y="445"/>
                    <a:pt x="168" y="431"/>
                  </a:cubicBezTo>
                  <a:cubicBezTo>
                    <a:pt x="193" y="412"/>
                    <a:pt x="199" y="375"/>
                    <a:pt x="182" y="352"/>
                  </a:cubicBezTo>
                  <a:cubicBezTo>
                    <a:pt x="164" y="328"/>
                    <a:pt x="140" y="324"/>
                    <a:pt x="114" y="340"/>
                  </a:cubicBezTo>
                  <a:cubicBezTo>
                    <a:pt x="107" y="345"/>
                    <a:pt x="103" y="356"/>
                    <a:pt x="93" y="354"/>
                  </a:cubicBezTo>
                  <a:cubicBezTo>
                    <a:pt x="74" y="351"/>
                    <a:pt x="55" y="346"/>
                    <a:pt x="36" y="340"/>
                  </a:cubicBezTo>
                  <a:cubicBezTo>
                    <a:pt x="30" y="339"/>
                    <a:pt x="31" y="333"/>
                    <a:pt x="32" y="327"/>
                  </a:cubicBezTo>
                  <a:cubicBezTo>
                    <a:pt x="47" y="261"/>
                    <a:pt x="61" y="194"/>
                    <a:pt x="75" y="128"/>
                  </a:cubicBezTo>
                  <a:cubicBezTo>
                    <a:pt x="77" y="118"/>
                    <a:pt x="82" y="115"/>
                    <a:pt x="91" y="115"/>
                  </a:cubicBezTo>
                  <a:cubicBezTo>
                    <a:pt x="146" y="115"/>
                    <a:pt x="200" y="115"/>
                    <a:pt x="255" y="115"/>
                  </a:cubicBezTo>
                  <a:cubicBezTo>
                    <a:pt x="266" y="115"/>
                    <a:pt x="270" y="118"/>
                    <a:pt x="271" y="130"/>
                  </a:cubicBezTo>
                  <a:cubicBezTo>
                    <a:pt x="276" y="195"/>
                    <a:pt x="276" y="195"/>
                    <a:pt x="212" y="195"/>
                  </a:cubicBezTo>
                  <a:cubicBezTo>
                    <a:pt x="194" y="195"/>
                    <a:pt x="177" y="196"/>
                    <a:pt x="160" y="195"/>
                  </a:cubicBezTo>
                  <a:cubicBezTo>
                    <a:pt x="147" y="194"/>
                    <a:pt x="140" y="198"/>
                    <a:pt x="139" y="212"/>
                  </a:cubicBezTo>
                  <a:cubicBezTo>
                    <a:pt x="137" y="224"/>
                    <a:pt x="134" y="236"/>
                    <a:pt x="132" y="248"/>
                  </a:cubicBezTo>
                  <a:cubicBezTo>
                    <a:pt x="144" y="249"/>
                    <a:pt x="156" y="251"/>
                    <a:pt x="168" y="251"/>
                  </a:cubicBezTo>
                  <a:cubicBezTo>
                    <a:pt x="180" y="251"/>
                    <a:pt x="191" y="258"/>
                    <a:pt x="205" y="252"/>
                  </a:cubicBezTo>
                  <a:cubicBezTo>
                    <a:pt x="212" y="249"/>
                    <a:pt x="219" y="258"/>
                    <a:pt x="222" y="266"/>
                  </a:cubicBezTo>
                  <a:cubicBezTo>
                    <a:pt x="226" y="275"/>
                    <a:pt x="217" y="280"/>
                    <a:pt x="211" y="285"/>
                  </a:cubicBezTo>
                  <a:cubicBezTo>
                    <a:pt x="204" y="290"/>
                    <a:pt x="197" y="286"/>
                    <a:pt x="194" y="280"/>
                  </a:cubicBezTo>
                  <a:cubicBezTo>
                    <a:pt x="180" y="257"/>
                    <a:pt x="158" y="260"/>
                    <a:pt x="137" y="263"/>
                  </a:cubicBezTo>
                  <a:cubicBezTo>
                    <a:pt x="118" y="265"/>
                    <a:pt x="115" y="263"/>
                    <a:pt x="119" y="244"/>
                  </a:cubicBezTo>
                  <a:cubicBezTo>
                    <a:pt x="124" y="224"/>
                    <a:pt x="121" y="199"/>
                    <a:pt x="136" y="187"/>
                  </a:cubicBezTo>
                  <a:cubicBezTo>
                    <a:pt x="149" y="175"/>
                    <a:pt x="174" y="184"/>
                    <a:pt x="194" y="183"/>
                  </a:cubicBezTo>
                  <a:cubicBezTo>
                    <a:pt x="208" y="182"/>
                    <a:pt x="222" y="182"/>
                    <a:pt x="236" y="183"/>
                  </a:cubicBezTo>
                  <a:cubicBezTo>
                    <a:pt x="256" y="186"/>
                    <a:pt x="260" y="178"/>
                    <a:pt x="259" y="159"/>
                  </a:cubicBezTo>
                  <a:cubicBezTo>
                    <a:pt x="257" y="127"/>
                    <a:pt x="259" y="127"/>
                    <a:pt x="226" y="127"/>
                  </a:cubicBezTo>
                  <a:cubicBezTo>
                    <a:pt x="185" y="127"/>
                    <a:pt x="143" y="127"/>
                    <a:pt x="102" y="127"/>
                  </a:cubicBezTo>
                  <a:cubicBezTo>
                    <a:pt x="92" y="127"/>
                    <a:pt x="88" y="129"/>
                    <a:pt x="86" y="140"/>
                  </a:cubicBezTo>
                  <a:cubicBezTo>
                    <a:pt x="74" y="198"/>
                    <a:pt x="61" y="256"/>
                    <a:pt x="48" y="313"/>
                  </a:cubicBezTo>
                  <a:cubicBezTo>
                    <a:pt x="45" y="326"/>
                    <a:pt x="49" y="332"/>
                    <a:pt x="62" y="335"/>
                  </a:cubicBezTo>
                  <a:cubicBezTo>
                    <a:pt x="81" y="340"/>
                    <a:pt x="97" y="340"/>
                    <a:pt x="114" y="327"/>
                  </a:cubicBezTo>
                  <a:cubicBezTo>
                    <a:pt x="134" y="313"/>
                    <a:pt x="157" y="315"/>
                    <a:pt x="177" y="330"/>
                  </a:cubicBezTo>
                  <a:cubicBezTo>
                    <a:pt x="200" y="347"/>
                    <a:pt x="207" y="372"/>
                    <a:pt x="202" y="398"/>
                  </a:cubicBezTo>
                  <a:cubicBezTo>
                    <a:pt x="197" y="424"/>
                    <a:pt x="182" y="444"/>
                    <a:pt x="155" y="451"/>
                  </a:cubicBezTo>
                  <a:cubicBezTo>
                    <a:pt x="126" y="458"/>
                    <a:pt x="104" y="448"/>
                    <a:pt x="86" y="427"/>
                  </a:cubicBezTo>
                  <a:cubicBezTo>
                    <a:pt x="82" y="422"/>
                    <a:pt x="79" y="418"/>
                    <a:pt x="71" y="418"/>
                  </a:cubicBezTo>
                  <a:cubicBezTo>
                    <a:pt x="53" y="419"/>
                    <a:pt x="35" y="418"/>
                    <a:pt x="16" y="418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34286" tIns="17143" rIns="34286" bIns="1714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75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4855612" y="10315177"/>
              <a:ext cx="1825526" cy="58485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25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Mobility</a:t>
              </a:r>
            </a:p>
          </p:txBody>
        </p:sp>
      </p:grpSp>
      <p:sp>
        <p:nvSpPr>
          <p:cNvPr id="44" name="Текст 2">
            <a:extLst>
              <a:ext uri="{FF2B5EF4-FFF2-40B4-BE49-F238E27FC236}">
                <a16:creationId xmlns:a16="http://schemas.microsoft.com/office/drawing/2014/main" id="{DB465D4F-6E18-2440-8ADA-A4A0D311A797}"/>
              </a:ext>
            </a:extLst>
          </p:cNvPr>
          <p:cNvSpPr txBox="1">
            <a:spLocks/>
          </p:cNvSpPr>
          <p:nvPr/>
        </p:nvSpPr>
        <p:spPr>
          <a:xfrm>
            <a:off x="1251064" y="80653"/>
            <a:ext cx="6587874" cy="485991"/>
          </a:xfrm>
          <a:prstGeom prst="rect">
            <a:avLst/>
          </a:prstGeom>
        </p:spPr>
        <p:txBody>
          <a:bodyPr/>
          <a:lstStyle>
            <a:lvl1pPr marL="914446" indent="-914446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lang="en-US" sz="2100" b="0" i="0" kern="1200" baseline="0" dirty="0">
                <a:solidFill>
                  <a:schemeClr val="tx2">
                    <a:lumMod val="75000"/>
                    <a:lumOff val="25000"/>
                  </a:schemeClr>
                </a:solidFill>
                <a:latin typeface="Roboto Light" charset="0"/>
                <a:ea typeface="Roboto Light" charset="0"/>
                <a:cs typeface="Roboto Light" charset="0"/>
              </a:defRPr>
            </a:lvl1pPr>
            <a:lvl2pPr marL="1981299" indent="-762038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152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7413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6674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5935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5196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4457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3718" indent="-609630" algn="l" defTabSz="243852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2438522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entury Gothic"/>
                <a:cs typeface="Century Gothic"/>
              </a:rPr>
              <a:t>Advantages of the program</a:t>
            </a:r>
          </a:p>
        </p:txBody>
      </p:sp>
    </p:spTree>
    <p:extLst>
      <p:ext uri="{BB962C8B-B14F-4D97-AF65-F5344CB8AC3E}">
        <p14:creationId xmlns:p14="http://schemas.microsoft.com/office/powerpoint/2010/main" val="3428506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750"/>
                            </p:stCondLst>
                            <p:childTnLst>
                              <p:par>
                                <p:cTn id="16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7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000"/>
                            </p:stCondLst>
                            <p:childTnLst>
                              <p:par>
                                <p:cTn id="49" presetID="49" presetClass="entr" presetSubtype="0" decel="10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7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9" name="직선 연결선 250"/>
          <p:cNvCxnSpPr/>
          <p:nvPr/>
        </p:nvCxnSpPr>
        <p:spPr>
          <a:xfrm>
            <a:off x="7317094" y="240757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직선 연결선 250"/>
          <p:cNvCxnSpPr/>
          <p:nvPr/>
        </p:nvCxnSpPr>
        <p:spPr>
          <a:xfrm>
            <a:off x="-821066" y="239741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직선 연결선 250"/>
          <p:cNvCxnSpPr/>
          <p:nvPr/>
        </p:nvCxnSpPr>
        <p:spPr>
          <a:xfrm>
            <a:off x="4573894" y="240757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직선 연결선 250"/>
          <p:cNvCxnSpPr/>
          <p:nvPr/>
        </p:nvCxnSpPr>
        <p:spPr>
          <a:xfrm>
            <a:off x="1830694" y="2397416"/>
            <a:ext cx="2741306" cy="344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990600" y="1995812"/>
            <a:ext cx="1679179" cy="880738"/>
            <a:chOff x="3433260" y="1508627"/>
            <a:chExt cx="2237290" cy="1173470"/>
          </a:xfrm>
          <a:effectLst>
            <a:outerShdw dist="38100" dir="5400000" algn="ctr" rotWithShape="0">
              <a:srgbClr val="000000">
                <a:alpha val="10000"/>
              </a:srgbClr>
            </a:outerShdw>
          </a:effectLst>
        </p:grpSpPr>
        <p:sp>
          <p:nvSpPr>
            <p:cNvPr id="4" name="Freeform 11"/>
            <p:cNvSpPr>
              <a:spLocks/>
            </p:cNvSpPr>
            <p:nvPr/>
          </p:nvSpPr>
          <p:spPr bwMode="auto">
            <a:xfrm>
              <a:off x="3433260" y="1508627"/>
              <a:ext cx="2237290" cy="743372"/>
            </a:xfrm>
            <a:custGeom>
              <a:avLst/>
              <a:gdLst>
                <a:gd name="T0" fmla="*/ 985 w 985"/>
                <a:gd name="T1" fmla="*/ 265 h 449"/>
                <a:gd name="T2" fmla="*/ 492 w 985"/>
                <a:gd name="T3" fmla="*/ 0 h 449"/>
                <a:gd name="T4" fmla="*/ 0 w 985"/>
                <a:gd name="T5" fmla="*/ 265 h 449"/>
                <a:gd name="T6" fmla="*/ 0 w 985"/>
                <a:gd name="T7" fmla="*/ 449 h 449"/>
                <a:gd name="T8" fmla="*/ 492 w 985"/>
                <a:gd name="T9" fmla="*/ 183 h 449"/>
                <a:gd name="T10" fmla="*/ 985 w 985"/>
                <a:gd name="T11" fmla="*/ 449 h 449"/>
                <a:gd name="T12" fmla="*/ 985 w 985"/>
                <a:gd name="T13" fmla="*/ 265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265"/>
                  </a:moveTo>
                  <a:cubicBezTo>
                    <a:pt x="985" y="119"/>
                    <a:pt x="764" y="0"/>
                    <a:pt x="492" y="0"/>
                  </a:cubicBezTo>
                  <a:cubicBezTo>
                    <a:pt x="220" y="0"/>
                    <a:pt x="0" y="119"/>
                    <a:pt x="0" y="265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302"/>
                    <a:pt x="220" y="183"/>
                    <a:pt x="492" y="183"/>
                  </a:cubicBezTo>
                  <a:cubicBezTo>
                    <a:pt x="764" y="183"/>
                    <a:pt x="985" y="302"/>
                    <a:pt x="985" y="449"/>
                  </a:cubicBezTo>
                  <a:lnTo>
                    <a:pt x="985" y="265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5" name="Freeform 12"/>
            <p:cNvSpPr>
              <a:spLocks noEditPoints="1"/>
            </p:cNvSpPr>
            <p:nvPr/>
          </p:nvSpPr>
          <p:spPr bwMode="auto">
            <a:xfrm>
              <a:off x="3433260" y="1508627"/>
              <a:ext cx="2237290" cy="878760"/>
            </a:xfrm>
            <a:custGeom>
              <a:avLst/>
              <a:gdLst>
                <a:gd name="T0" fmla="*/ 492 w 985"/>
                <a:gd name="T1" fmla="*/ 60 h 531"/>
                <a:gd name="T2" fmla="*/ 925 w 985"/>
                <a:gd name="T3" fmla="*/ 265 h 531"/>
                <a:gd name="T4" fmla="*/ 492 w 985"/>
                <a:gd name="T5" fmla="*/ 471 h 531"/>
                <a:gd name="T6" fmla="*/ 60 w 985"/>
                <a:gd name="T7" fmla="*/ 265 h 531"/>
                <a:gd name="T8" fmla="*/ 492 w 985"/>
                <a:gd name="T9" fmla="*/ 60 h 531"/>
                <a:gd name="T10" fmla="*/ 492 w 985"/>
                <a:gd name="T11" fmla="*/ 0 h 531"/>
                <a:gd name="T12" fmla="*/ 0 w 985"/>
                <a:gd name="T13" fmla="*/ 265 h 531"/>
                <a:gd name="T14" fmla="*/ 492 w 985"/>
                <a:gd name="T15" fmla="*/ 531 h 531"/>
                <a:gd name="T16" fmla="*/ 985 w 985"/>
                <a:gd name="T17" fmla="*/ 265 h 531"/>
                <a:gd name="T18" fmla="*/ 492 w 985"/>
                <a:gd name="T1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5" h="531">
                  <a:moveTo>
                    <a:pt x="492" y="60"/>
                  </a:moveTo>
                  <a:cubicBezTo>
                    <a:pt x="747" y="60"/>
                    <a:pt x="925" y="168"/>
                    <a:pt x="925" y="265"/>
                  </a:cubicBezTo>
                  <a:cubicBezTo>
                    <a:pt x="925" y="362"/>
                    <a:pt x="747" y="471"/>
                    <a:pt x="492" y="471"/>
                  </a:cubicBezTo>
                  <a:cubicBezTo>
                    <a:pt x="237" y="471"/>
                    <a:pt x="60" y="362"/>
                    <a:pt x="60" y="265"/>
                  </a:cubicBezTo>
                  <a:cubicBezTo>
                    <a:pt x="60" y="168"/>
                    <a:pt x="237" y="60"/>
                    <a:pt x="492" y="60"/>
                  </a:cubicBezTo>
                  <a:moveTo>
                    <a:pt x="492" y="0"/>
                  </a:moveTo>
                  <a:cubicBezTo>
                    <a:pt x="220" y="0"/>
                    <a:pt x="0" y="119"/>
                    <a:pt x="0" y="265"/>
                  </a:cubicBezTo>
                  <a:cubicBezTo>
                    <a:pt x="0" y="412"/>
                    <a:pt x="220" y="531"/>
                    <a:pt x="492" y="531"/>
                  </a:cubicBezTo>
                  <a:cubicBezTo>
                    <a:pt x="764" y="531"/>
                    <a:pt x="985" y="412"/>
                    <a:pt x="985" y="265"/>
                  </a:cubicBezTo>
                  <a:cubicBezTo>
                    <a:pt x="985" y="119"/>
                    <a:pt x="764" y="0"/>
                    <a:pt x="492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6" name="Freeform 13"/>
            <p:cNvSpPr>
              <a:spLocks/>
            </p:cNvSpPr>
            <p:nvPr/>
          </p:nvSpPr>
          <p:spPr bwMode="auto">
            <a:xfrm>
              <a:off x="3433260" y="1939566"/>
              <a:ext cx="2237290" cy="742531"/>
            </a:xfrm>
            <a:custGeom>
              <a:avLst/>
              <a:gdLst>
                <a:gd name="T0" fmla="*/ 985 w 985"/>
                <a:gd name="T1" fmla="*/ 184 h 449"/>
                <a:gd name="T2" fmla="*/ 492 w 985"/>
                <a:gd name="T3" fmla="*/ 449 h 449"/>
                <a:gd name="T4" fmla="*/ 0 w 985"/>
                <a:gd name="T5" fmla="*/ 184 h 449"/>
                <a:gd name="T6" fmla="*/ 0 w 985"/>
                <a:gd name="T7" fmla="*/ 0 h 449"/>
                <a:gd name="T8" fmla="*/ 492 w 985"/>
                <a:gd name="T9" fmla="*/ 266 h 449"/>
                <a:gd name="T10" fmla="*/ 985 w 985"/>
                <a:gd name="T11" fmla="*/ 0 h 449"/>
                <a:gd name="T12" fmla="*/ 985 w 985"/>
                <a:gd name="T13" fmla="*/ 18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184"/>
                  </a:moveTo>
                  <a:cubicBezTo>
                    <a:pt x="985" y="330"/>
                    <a:pt x="764" y="449"/>
                    <a:pt x="492" y="449"/>
                  </a:cubicBezTo>
                  <a:cubicBezTo>
                    <a:pt x="220" y="449"/>
                    <a:pt x="0" y="330"/>
                    <a:pt x="0" y="1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7"/>
                    <a:pt x="220" y="266"/>
                    <a:pt x="492" y="266"/>
                  </a:cubicBezTo>
                  <a:cubicBezTo>
                    <a:pt x="764" y="266"/>
                    <a:pt x="985" y="147"/>
                    <a:pt x="985" y="0"/>
                  </a:cubicBezTo>
                  <a:lnTo>
                    <a:pt x="985" y="184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3175"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8064A2">
                        <a:alpha val="50000"/>
                      </a:srgbClr>
                    </a:gs>
                    <a:gs pos="100000">
                      <a:srgbClr val="8064A2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Bebas Neue" pitchFamily="34" charset="0"/>
                <a:ea typeface="Roboto Condensed Regular"/>
                <a:cs typeface="Century Gothic"/>
              </a:endParaRPr>
            </a:p>
          </p:txBody>
        </p:sp>
      </p:grpSp>
      <p:cxnSp>
        <p:nvCxnSpPr>
          <p:cNvPr id="22" name="직선 연결선 250"/>
          <p:cNvCxnSpPr>
            <a:endCxn id="20" idx="4"/>
          </p:cNvCxnSpPr>
          <p:nvPr/>
        </p:nvCxnSpPr>
        <p:spPr>
          <a:xfrm flipH="1" flipV="1">
            <a:off x="1830189" y="1765165"/>
            <a:ext cx="1314" cy="633318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/>
          <p:cNvGrpSpPr/>
          <p:nvPr/>
        </p:nvGrpSpPr>
        <p:grpSpPr>
          <a:xfrm>
            <a:off x="3732410" y="1995812"/>
            <a:ext cx="1679179" cy="880738"/>
            <a:chOff x="3433260" y="1508627"/>
            <a:chExt cx="2237290" cy="1173470"/>
          </a:xfrm>
          <a:effectLst>
            <a:outerShdw dist="38100" dir="5400000" algn="ctr" rotWithShape="0">
              <a:srgbClr val="000000">
                <a:alpha val="10000"/>
              </a:srgbClr>
            </a:outerShdw>
          </a:effectLst>
        </p:grpSpPr>
        <p:sp>
          <p:nvSpPr>
            <p:cNvPr id="45" name="Freeform 11"/>
            <p:cNvSpPr>
              <a:spLocks/>
            </p:cNvSpPr>
            <p:nvPr/>
          </p:nvSpPr>
          <p:spPr bwMode="auto">
            <a:xfrm>
              <a:off x="3433260" y="1508627"/>
              <a:ext cx="2237290" cy="743372"/>
            </a:xfrm>
            <a:custGeom>
              <a:avLst/>
              <a:gdLst>
                <a:gd name="T0" fmla="*/ 985 w 985"/>
                <a:gd name="T1" fmla="*/ 265 h 449"/>
                <a:gd name="T2" fmla="*/ 492 w 985"/>
                <a:gd name="T3" fmla="*/ 0 h 449"/>
                <a:gd name="T4" fmla="*/ 0 w 985"/>
                <a:gd name="T5" fmla="*/ 265 h 449"/>
                <a:gd name="T6" fmla="*/ 0 w 985"/>
                <a:gd name="T7" fmla="*/ 449 h 449"/>
                <a:gd name="T8" fmla="*/ 492 w 985"/>
                <a:gd name="T9" fmla="*/ 183 h 449"/>
                <a:gd name="T10" fmla="*/ 985 w 985"/>
                <a:gd name="T11" fmla="*/ 449 h 449"/>
                <a:gd name="T12" fmla="*/ 985 w 985"/>
                <a:gd name="T13" fmla="*/ 265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265"/>
                  </a:moveTo>
                  <a:cubicBezTo>
                    <a:pt x="985" y="119"/>
                    <a:pt x="764" y="0"/>
                    <a:pt x="492" y="0"/>
                  </a:cubicBezTo>
                  <a:cubicBezTo>
                    <a:pt x="220" y="0"/>
                    <a:pt x="0" y="119"/>
                    <a:pt x="0" y="265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302"/>
                    <a:pt x="220" y="183"/>
                    <a:pt x="492" y="183"/>
                  </a:cubicBezTo>
                  <a:cubicBezTo>
                    <a:pt x="764" y="183"/>
                    <a:pt x="985" y="302"/>
                    <a:pt x="985" y="449"/>
                  </a:cubicBezTo>
                  <a:lnTo>
                    <a:pt x="985" y="265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46" name="Freeform 12"/>
            <p:cNvSpPr>
              <a:spLocks noEditPoints="1"/>
            </p:cNvSpPr>
            <p:nvPr/>
          </p:nvSpPr>
          <p:spPr bwMode="auto">
            <a:xfrm>
              <a:off x="3433260" y="1508627"/>
              <a:ext cx="2237290" cy="878760"/>
            </a:xfrm>
            <a:custGeom>
              <a:avLst/>
              <a:gdLst>
                <a:gd name="T0" fmla="*/ 492 w 985"/>
                <a:gd name="T1" fmla="*/ 60 h 531"/>
                <a:gd name="T2" fmla="*/ 925 w 985"/>
                <a:gd name="T3" fmla="*/ 265 h 531"/>
                <a:gd name="T4" fmla="*/ 492 w 985"/>
                <a:gd name="T5" fmla="*/ 471 h 531"/>
                <a:gd name="T6" fmla="*/ 60 w 985"/>
                <a:gd name="T7" fmla="*/ 265 h 531"/>
                <a:gd name="T8" fmla="*/ 492 w 985"/>
                <a:gd name="T9" fmla="*/ 60 h 531"/>
                <a:gd name="T10" fmla="*/ 492 w 985"/>
                <a:gd name="T11" fmla="*/ 0 h 531"/>
                <a:gd name="T12" fmla="*/ 0 w 985"/>
                <a:gd name="T13" fmla="*/ 265 h 531"/>
                <a:gd name="T14" fmla="*/ 492 w 985"/>
                <a:gd name="T15" fmla="*/ 531 h 531"/>
                <a:gd name="T16" fmla="*/ 985 w 985"/>
                <a:gd name="T17" fmla="*/ 265 h 531"/>
                <a:gd name="T18" fmla="*/ 492 w 985"/>
                <a:gd name="T1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5" h="531">
                  <a:moveTo>
                    <a:pt x="492" y="60"/>
                  </a:moveTo>
                  <a:cubicBezTo>
                    <a:pt x="747" y="60"/>
                    <a:pt x="925" y="168"/>
                    <a:pt x="925" y="265"/>
                  </a:cubicBezTo>
                  <a:cubicBezTo>
                    <a:pt x="925" y="362"/>
                    <a:pt x="747" y="471"/>
                    <a:pt x="492" y="471"/>
                  </a:cubicBezTo>
                  <a:cubicBezTo>
                    <a:pt x="237" y="471"/>
                    <a:pt x="60" y="362"/>
                    <a:pt x="60" y="265"/>
                  </a:cubicBezTo>
                  <a:cubicBezTo>
                    <a:pt x="60" y="168"/>
                    <a:pt x="237" y="60"/>
                    <a:pt x="492" y="60"/>
                  </a:cubicBezTo>
                  <a:moveTo>
                    <a:pt x="492" y="0"/>
                  </a:moveTo>
                  <a:cubicBezTo>
                    <a:pt x="220" y="0"/>
                    <a:pt x="0" y="119"/>
                    <a:pt x="0" y="265"/>
                  </a:cubicBezTo>
                  <a:cubicBezTo>
                    <a:pt x="0" y="412"/>
                    <a:pt x="220" y="531"/>
                    <a:pt x="492" y="531"/>
                  </a:cubicBezTo>
                  <a:cubicBezTo>
                    <a:pt x="764" y="531"/>
                    <a:pt x="985" y="412"/>
                    <a:pt x="985" y="265"/>
                  </a:cubicBezTo>
                  <a:cubicBezTo>
                    <a:pt x="985" y="119"/>
                    <a:pt x="764" y="0"/>
                    <a:pt x="492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47" name="Freeform 13"/>
            <p:cNvSpPr>
              <a:spLocks/>
            </p:cNvSpPr>
            <p:nvPr/>
          </p:nvSpPr>
          <p:spPr bwMode="auto">
            <a:xfrm>
              <a:off x="3433260" y="1939566"/>
              <a:ext cx="2237290" cy="742531"/>
            </a:xfrm>
            <a:custGeom>
              <a:avLst/>
              <a:gdLst>
                <a:gd name="T0" fmla="*/ 985 w 985"/>
                <a:gd name="T1" fmla="*/ 184 h 449"/>
                <a:gd name="T2" fmla="*/ 492 w 985"/>
                <a:gd name="T3" fmla="*/ 449 h 449"/>
                <a:gd name="T4" fmla="*/ 0 w 985"/>
                <a:gd name="T5" fmla="*/ 184 h 449"/>
                <a:gd name="T6" fmla="*/ 0 w 985"/>
                <a:gd name="T7" fmla="*/ 0 h 449"/>
                <a:gd name="T8" fmla="*/ 492 w 985"/>
                <a:gd name="T9" fmla="*/ 266 h 449"/>
                <a:gd name="T10" fmla="*/ 985 w 985"/>
                <a:gd name="T11" fmla="*/ 0 h 449"/>
                <a:gd name="T12" fmla="*/ 985 w 985"/>
                <a:gd name="T13" fmla="*/ 18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184"/>
                  </a:moveTo>
                  <a:cubicBezTo>
                    <a:pt x="985" y="330"/>
                    <a:pt x="764" y="449"/>
                    <a:pt x="492" y="449"/>
                  </a:cubicBezTo>
                  <a:cubicBezTo>
                    <a:pt x="220" y="449"/>
                    <a:pt x="0" y="330"/>
                    <a:pt x="0" y="1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7"/>
                    <a:pt x="220" y="266"/>
                    <a:pt x="492" y="266"/>
                  </a:cubicBezTo>
                  <a:cubicBezTo>
                    <a:pt x="764" y="266"/>
                    <a:pt x="985" y="147"/>
                    <a:pt x="985" y="0"/>
                  </a:cubicBezTo>
                  <a:lnTo>
                    <a:pt x="985" y="184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3175"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8064A2">
                        <a:alpha val="50000"/>
                      </a:srgbClr>
                    </a:gs>
                    <a:gs pos="100000">
                      <a:srgbClr val="8064A2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Bebas Neue" pitchFamily="34" charset="0"/>
                <a:ea typeface="Roboto Condensed Regular"/>
                <a:cs typeface="Century Gothic"/>
              </a:endParaRPr>
            </a:p>
          </p:txBody>
        </p:sp>
      </p:grpSp>
      <p:cxnSp>
        <p:nvCxnSpPr>
          <p:cNvPr id="44" name="직선 연결선 250"/>
          <p:cNvCxnSpPr>
            <a:endCxn id="42" idx="4"/>
          </p:cNvCxnSpPr>
          <p:nvPr/>
        </p:nvCxnSpPr>
        <p:spPr>
          <a:xfrm flipH="1" flipV="1">
            <a:off x="4571999" y="1765165"/>
            <a:ext cx="1314" cy="633319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56"/>
          <p:cNvGrpSpPr/>
          <p:nvPr/>
        </p:nvGrpSpPr>
        <p:grpSpPr>
          <a:xfrm>
            <a:off x="6475610" y="2000821"/>
            <a:ext cx="1679179" cy="880738"/>
            <a:chOff x="3433260" y="1508627"/>
            <a:chExt cx="2237290" cy="1173470"/>
          </a:xfrm>
          <a:effectLst>
            <a:outerShdw dist="38100" dir="5400000" algn="ctr" rotWithShape="0">
              <a:srgbClr val="000000">
                <a:alpha val="10000"/>
              </a:srgbClr>
            </a:outerShdw>
          </a:effectLst>
        </p:grpSpPr>
        <p:sp>
          <p:nvSpPr>
            <p:cNvPr id="61" name="Freeform 11"/>
            <p:cNvSpPr>
              <a:spLocks/>
            </p:cNvSpPr>
            <p:nvPr/>
          </p:nvSpPr>
          <p:spPr bwMode="auto">
            <a:xfrm>
              <a:off x="3433260" y="1508627"/>
              <a:ext cx="2237290" cy="743372"/>
            </a:xfrm>
            <a:custGeom>
              <a:avLst/>
              <a:gdLst>
                <a:gd name="T0" fmla="*/ 985 w 985"/>
                <a:gd name="T1" fmla="*/ 265 h 449"/>
                <a:gd name="T2" fmla="*/ 492 w 985"/>
                <a:gd name="T3" fmla="*/ 0 h 449"/>
                <a:gd name="T4" fmla="*/ 0 w 985"/>
                <a:gd name="T5" fmla="*/ 265 h 449"/>
                <a:gd name="T6" fmla="*/ 0 w 985"/>
                <a:gd name="T7" fmla="*/ 449 h 449"/>
                <a:gd name="T8" fmla="*/ 492 w 985"/>
                <a:gd name="T9" fmla="*/ 183 h 449"/>
                <a:gd name="T10" fmla="*/ 985 w 985"/>
                <a:gd name="T11" fmla="*/ 449 h 449"/>
                <a:gd name="T12" fmla="*/ 985 w 985"/>
                <a:gd name="T13" fmla="*/ 265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265"/>
                  </a:moveTo>
                  <a:cubicBezTo>
                    <a:pt x="985" y="119"/>
                    <a:pt x="764" y="0"/>
                    <a:pt x="492" y="0"/>
                  </a:cubicBezTo>
                  <a:cubicBezTo>
                    <a:pt x="220" y="0"/>
                    <a:pt x="0" y="119"/>
                    <a:pt x="0" y="265"/>
                  </a:cubicBezTo>
                  <a:cubicBezTo>
                    <a:pt x="0" y="449"/>
                    <a:pt x="0" y="449"/>
                    <a:pt x="0" y="449"/>
                  </a:cubicBezTo>
                  <a:cubicBezTo>
                    <a:pt x="0" y="302"/>
                    <a:pt x="220" y="183"/>
                    <a:pt x="492" y="183"/>
                  </a:cubicBezTo>
                  <a:cubicBezTo>
                    <a:pt x="764" y="183"/>
                    <a:pt x="985" y="302"/>
                    <a:pt x="985" y="449"/>
                  </a:cubicBezTo>
                  <a:lnTo>
                    <a:pt x="985" y="265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62" name="Freeform 12"/>
            <p:cNvSpPr>
              <a:spLocks noEditPoints="1"/>
            </p:cNvSpPr>
            <p:nvPr/>
          </p:nvSpPr>
          <p:spPr bwMode="auto">
            <a:xfrm>
              <a:off x="3433260" y="1508627"/>
              <a:ext cx="2237290" cy="878760"/>
            </a:xfrm>
            <a:custGeom>
              <a:avLst/>
              <a:gdLst>
                <a:gd name="T0" fmla="*/ 492 w 985"/>
                <a:gd name="T1" fmla="*/ 60 h 531"/>
                <a:gd name="T2" fmla="*/ 925 w 985"/>
                <a:gd name="T3" fmla="*/ 265 h 531"/>
                <a:gd name="T4" fmla="*/ 492 w 985"/>
                <a:gd name="T5" fmla="*/ 471 h 531"/>
                <a:gd name="T6" fmla="*/ 60 w 985"/>
                <a:gd name="T7" fmla="*/ 265 h 531"/>
                <a:gd name="T8" fmla="*/ 492 w 985"/>
                <a:gd name="T9" fmla="*/ 60 h 531"/>
                <a:gd name="T10" fmla="*/ 492 w 985"/>
                <a:gd name="T11" fmla="*/ 0 h 531"/>
                <a:gd name="T12" fmla="*/ 0 w 985"/>
                <a:gd name="T13" fmla="*/ 265 h 531"/>
                <a:gd name="T14" fmla="*/ 492 w 985"/>
                <a:gd name="T15" fmla="*/ 531 h 531"/>
                <a:gd name="T16" fmla="*/ 985 w 985"/>
                <a:gd name="T17" fmla="*/ 265 h 531"/>
                <a:gd name="T18" fmla="*/ 492 w 985"/>
                <a:gd name="T19" fmla="*/ 0 h 5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85" h="531">
                  <a:moveTo>
                    <a:pt x="492" y="60"/>
                  </a:moveTo>
                  <a:cubicBezTo>
                    <a:pt x="747" y="60"/>
                    <a:pt x="925" y="168"/>
                    <a:pt x="925" y="265"/>
                  </a:cubicBezTo>
                  <a:cubicBezTo>
                    <a:pt x="925" y="362"/>
                    <a:pt x="747" y="471"/>
                    <a:pt x="492" y="471"/>
                  </a:cubicBezTo>
                  <a:cubicBezTo>
                    <a:pt x="237" y="471"/>
                    <a:pt x="60" y="362"/>
                    <a:pt x="60" y="265"/>
                  </a:cubicBezTo>
                  <a:cubicBezTo>
                    <a:pt x="60" y="168"/>
                    <a:pt x="237" y="60"/>
                    <a:pt x="492" y="60"/>
                  </a:cubicBezTo>
                  <a:moveTo>
                    <a:pt x="492" y="0"/>
                  </a:moveTo>
                  <a:cubicBezTo>
                    <a:pt x="220" y="0"/>
                    <a:pt x="0" y="119"/>
                    <a:pt x="0" y="265"/>
                  </a:cubicBezTo>
                  <a:cubicBezTo>
                    <a:pt x="0" y="412"/>
                    <a:pt x="220" y="531"/>
                    <a:pt x="492" y="531"/>
                  </a:cubicBezTo>
                  <a:cubicBezTo>
                    <a:pt x="764" y="531"/>
                    <a:pt x="985" y="412"/>
                    <a:pt x="985" y="265"/>
                  </a:cubicBezTo>
                  <a:cubicBezTo>
                    <a:pt x="985" y="119"/>
                    <a:pt x="764" y="0"/>
                    <a:pt x="492" y="0"/>
                  </a:cubicBezTo>
                  <a:close/>
                </a:path>
              </a:pathLst>
            </a:custGeom>
            <a:solidFill>
              <a:schemeClr val="accent4"/>
            </a:solidFill>
            <a:ln w="3175"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맑은 고딕" panose="020B0503020000020004" pitchFamily="34" charset="-127"/>
                <a:cs typeface="Century Gothic"/>
              </a:endParaRPr>
            </a:p>
          </p:txBody>
        </p:sp>
        <p:sp>
          <p:nvSpPr>
            <p:cNvPr id="63" name="Freeform 13"/>
            <p:cNvSpPr>
              <a:spLocks/>
            </p:cNvSpPr>
            <p:nvPr/>
          </p:nvSpPr>
          <p:spPr bwMode="auto">
            <a:xfrm>
              <a:off x="3433260" y="1939566"/>
              <a:ext cx="2237290" cy="742531"/>
            </a:xfrm>
            <a:custGeom>
              <a:avLst/>
              <a:gdLst>
                <a:gd name="T0" fmla="*/ 985 w 985"/>
                <a:gd name="T1" fmla="*/ 184 h 449"/>
                <a:gd name="T2" fmla="*/ 492 w 985"/>
                <a:gd name="T3" fmla="*/ 449 h 449"/>
                <a:gd name="T4" fmla="*/ 0 w 985"/>
                <a:gd name="T5" fmla="*/ 184 h 449"/>
                <a:gd name="T6" fmla="*/ 0 w 985"/>
                <a:gd name="T7" fmla="*/ 0 h 449"/>
                <a:gd name="T8" fmla="*/ 492 w 985"/>
                <a:gd name="T9" fmla="*/ 266 h 449"/>
                <a:gd name="T10" fmla="*/ 985 w 985"/>
                <a:gd name="T11" fmla="*/ 0 h 449"/>
                <a:gd name="T12" fmla="*/ 985 w 985"/>
                <a:gd name="T13" fmla="*/ 184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85" h="449">
                  <a:moveTo>
                    <a:pt x="985" y="184"/>
                  </a:moveTo>
                  <a:cubicBezTo>
                    <a:pt x="985" y="330"/>
                    <a:pt x="764" y="449"/>
                    <a:pt x="492" y="449"/>
                  </a:cubicBezTo>
                  <a:cubicBezTo>
                    <a:pt x="220" y="449"/>
                    <a:pt x="0" y="330"/>
                    <a:pt x="0" y="18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47"/>
                    <a:pt x="220" y="266"/>
                    <a:pt x="492" y="266"/>
                  </a:cubicBezTo>
                  <a:cubicBezTo>
                    <a:pt x="764" y="266"/>
                    <a:pt x="985" y="147"/>
                    <a:pt x="985" y="0"/>
                  </a:cubicBezTo>
                  <a:lnTo>
                    <a:pt x="985" y="184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3175"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900" b="1" i="0" u="none" strike="noStrike" kern="1200" cap="none" spc="0" normalizeH="0" baseline="0" noProof="0" dirty="0">
                <a:ln>
                  <a:noFill/>
                </a:ln>
                <a:gradFill>
                  <a:gsLst>
                    <a:gs pos="0">
                      <a:srgbClr val="8064A2">
                        <a:alpha val="50000"/>
                      </a:srgbClr>
                    </a:gs>
                    <a:gs pos="100000">
                      <a:srgbClr val="8064A2">
                        <a:alpha val="50000"/>
                      </a:srgbClr>
                    </a:gs>
                  </a:gsLst>
                  <a:lin ang="5400000" scaled="0"/>
                </a:gradFill>
                <a:effectLst/>
                <a:uLnTx/>
                <a:uFillTx/>
                <a:latin typeface="Bebas Neue" pitchFamily="34" charset="0"/>
                <a:ea typeface="Roboto Condensed Regular"/>
                <a:cs typeface="Century Gothic"/>
              </a:endParaRPr>
            </a:p>
          </p:txBody>
        </p:sp>
      </p:grpSp>
      <p:cxnSp>
        <p:nvCxnSpPr>
          <p:cNvPr id="60" name="직선 연결선 250"/>
          <p:cNvCxnSpPr>
            <a:endCxn id="58" idx="4"/>
          </p:cNvCxnSpPr>
          <p:nvPr/>
        </p:nvCxnSpPr>
        <p:spPr>
          <a:xfrm flipH="1" flipV="1">
            <a:off x="7315199" y="1765165"/>
            <a:ext cx="1313" cy="638328"/>
          </a:xfrm>
          <a:prstGeom prst="line">
            <a:avLst/>
          </a:prstGeom>
          <a:ln w="6350">
            <a:solidFill>
              <a:schemeClr val="tx2">
                <a:lumMod val="60000"/>
                <a:lumOff val="40000"/>
              </a:schemeClr>
            </a:solidFill>
            <a:prstDash val="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Freeform 65"/>
          <p:cNvSpPr>
            <a:spLocks noChangeArrowheads="1"/>
          </p:cNvSpPr>
          <p:nvPr/>
        </p:nvSpPr>
        <p:spPr bwMode="auto">
          <a:xfrm>
            <a:off x="5564909" y="2115843"/>
            <a:ext cx="138654" cy="251310"/>
          </a:xfrm>
          <a:custGeom>
            <a:avLst/>
            <a:gdLst>
              <a:gd name="T0" fmla="*/ 63426 w 354"/>
              <a:gd name="T1" fmla="*/ 197602 h 634"/>
              <a:gd name="T2" fmla="*/ 63426 w 354"/>
              <a:gd name="T3" fmla="*/ 197602 h 634"/>
              <a:gd name="T4" fmla="*/ 79193 w 354"/>
              <a:gd name="T5" fmla="*/ 187087 h 634"/>
              <a:gd name="T6" fmla="*/ 63426 w 354"/>
              <a:gd name="T7" fmla="*/ 170772 h 634"/>
              <a:gd name="T8" fmla="*/ 52676 w 354"/>
              <a:gd name="T9" fmla="*/ 187087 h 634"/>
              <a:gd name="T10" fmla="*/ 63426 w 354"/>
              <a:gd name="T11" fmla="*/ 197602 h 634"/>
              <a:gd name="T12" fmla="*/ 100335 w 354"/>
              <a:gd name="T13" fmla="*/ 0 h 634"/>
              <a:gd name="T14" fmla="*/ 100335 w 354"/>
              <a:gd name="T15" fmla="*/ 0 h 634"/>
              <a:gd name="T16" fmla="*/ 31892 w 354"/>
              <a:gd name="T17" fmla="*/ 0 h 634"/>
              <a:gd name="T18" fmla="*/ 0 w 354"/>
              <a:gd name="T19" fmla="*/ 26830 h 634"/>
              <a:gd name="T20" fmla="*/ 0 w 354"/>
              <a:gd name="T21" fmla="*/ 197602 h 634"/>
              <a:gd name="T22" fmla="*/ 31892 w 354"/>
              <a:gd name="T23" fmla="*/ 229508 h 634"/>
              <a:gd name="T24" fmla="*/ 100335 w 354"/>
              <a:gd name="T25" fmla="*/ 229508 h 634"/>
              <a:gd name="T26" fmla="*/ 126494 w 354"/>
              <a:gd name="T27" fmla="*/ 197602 h 634"/>
              <a:gd name="T28" fmla="*/ 126494 w 354"/>
              <a:gd name="T29" fmla="*/ 26830 h 634"/>
              <a:gd name="T30" fmla="*/ 100335 w 354"/>
              <a:gd name="T31" fmla="*/ 0 h 634"/>
              <a:gd name="T32" fmla="*/ 116102 w 354"/>
              <a:gd name="T33" fmla="*/ 197602 h 634"/>
              <a:gd name="T34" fmla="*/ 116102 w 354"/>
              <a:gd name="T35" fmla="*/ 197602 h 634"/>
              <a:gd name="T36" fmla="*/ 100335 w 354"/>
              <a:gd name="T37" fmla="*/ 213555 h 634"/>
              <a:gd name="T38" fmla="*/ 31892 w 354"/>
              <a:gd name="T39" fmla="*/ 213555 h 634"/>
              <a:gd name="T40" fmla="*/ 15767 w 354"/>
              <a:gd name="T41" fmla="*/ 197602 h 634"/>
              <a:gd name="T42" fmla="*/ 15767 w 354"/>
              <a:gd name="T43" fmla="*/ 154818 h 634"/>
              <a:gd name="T44" fmla="*/ 116102 w 354"/>
              <a:gd name="T45" fmla="*/ 154818 h 634"/>
              <a:gd name="T46" fmla="*/ 116102 w 354"/>
              <a:gd name="T47" fmla="*/ 197602 h 634"/>
              <a:gd name="T48" fmla="*/ 116102 w 354"/>
              <a:gd name="T49" fmla="*/ 144304 h 634"/>
              <a:gd name="T50" fmla="*/ 116102 w 354"/>
              <a:gd name="T51" fmla="*/ 144304 h 634"/>
              <a:gd name="T52" fmla="*/ 15767 w 354"/>
              <a:gd name="T53" fmla="*/ 144304 h 634"/>
              <a:gd name="T54" fmla="*/ 15767 w 354"/>
              <a:gd name="T55" fmla="*/ 48222 h 634"/>
              <a:gd name="T56" fmla="*/ 116102 w 354"/>
              <a:gd name="T57" fmla="*/ 48222 h 634"/>
              <a:gd name="T58" fmla="*/ 116102 w 354"/>
              <a:gd name="T59" fmla="*/ 144304 h 634"/>
              <a:gd name="T60" fmla="*/ 116102 w 354"/>
              <a:gd name="T61" fmla="*/ 37345 h 634"/>
              <a:gd name="T62" fmla="*/ 116102 w 354"/>
              <a:gd name="T63" fmla="*/ 37345 h 634"/>
              <a:gd name="T64" fmla="*/ 15767 w 354"/>
              <a:gd name="T65" fmla="*/ 37345 h 634"/>
              <a:gd name="T66" fmla="*/ 15767 w 354"/>
              <a:gd name="T67" fmla="*/ 26830 h 634"/>
              <a:gd name="T68" fmla="*/ 31892 w 354"/>
              <a:gd name="T69" fmla="*/ 15953 h 634"/>
              <a:gd name="T70" fmla="*/ 100335 w 354"/>
              <a:gd name="T71" fmla="*/ 15953 h 634"/>
              <a:gd name="T72" fmla="*/ 116102 w 354"/>
              <a:gd name="T73" fmla="*/ 26830 h 634"/>
              <a:gd name="T74" fmla="*/ 116102 w 354"/>
              <a:gd name="T75" fmla="*/ 37345 h 63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354" h="634">
                <a:moveTo>
                  <a:pt x="177" y="545"/>
                </a:moveTo>
                <a:lnTo>
                  <a:pt x="177" y="545"/>
                </a:lnTo>
                <a:cubicBezTo>
                  <a:pt x="206" y="545"/>
                  <a:pt x="221" y="530"/>
                  <a:pt x="221" y="516"/>
                </a:cubicBezTo>
                <a:cubicBezTo>
                  <a:pt x="221" y="486"/>
                  <a:pt x="206" y="471"/>
                  <a:pt x="177" y="471"/>
                </a:cubicBezTo>
                <a:cubicBezTo>
                  <a:pt x="162" y="471"/>
                  <a:pt x="147" y="486"/>
                  <a:pt x="147" y="516"/>
                </a:cubicBezTo>
                <a:cubicBezTo>
                  <a:pt x="147" y="530"/>
                  <a:pt x="162" y="545"/>
                  <a:pt x="177" y="545"/>
                </a:cubicBezTo>
                <a:close/>
                <a:moveTo>
                  <a:pt x="280" y="0"/>
                </a:moveTo>
                <a:lnTo>
                  <a:pt x="280" y="0"/>
                </a:lnTo>
                <a:cubicBezTo>
                  <a:pt x="89" y="0"/>
                  <a:pt x="89" y="0"/>
                  <a:pt x="89" y="0"/>
                </a:cubicBezTo>
                <a:cubicBezTo>
                  <a:pt x="44" y="0"/>
                  <a:pt x="0" y="30"/>
                  <a:pt x="0" y="74"/>
                </a:cubicBezTo>
                <a:cubicBezTo>
                  <a:pt x="0" y="545"/>
                  <a:pt x="0" y="545"/>
                  <a:pt x="0" y="545"/>
                </a:cubicBezTo>
                <a:cubicBezTo>
                  <a:pt x="0" y="589"/>
                  <a:pt x="44" y="633"/>
                  <a:pt x="89" y="633"/>
                </a:cubicBezTo>
                <a:cubicBezTo>
                  <a:pt x="280" y="633"/>
                  <a:pt x="280" y="633"/>
                  <a:pt x="280" y="633"/>
                </a:cubicBezTo>
                <a:cubicBezTo>
                  <a:pt x="324" y="633"/>
                  <a:pt x="353" y="589"/>
                  <a:pt x="353" y="545"/>
                </a:cubicBezTo>
                <a:cubicBezTo>
                  <a:pt x="353" y="74"/>
                  <a:pt x="353" y="74"/>
                  <a:pt x="353" y="74"/>
                </a:cubicBezTo>
                <a:cubicBezTo>
                  <a:pt x="353" y="30"/>
                  <a:pt x="324" y="0"/>
                  <a:pt x="280" y="0"/>
                </a:cubicBezTo>
                <a:close/>
                <a:moveTo>
                  <a:pt x="324" y="545"/>
                </a:moveTo>
                <a:lnTo>
                  <a:pt x="324" y="545"/>
                </a:lnTo>
                <a:cubicBezTo>
                  <a:pt x="324" y="574"/>
                  <a:pt x="294" y="589"/>
                  <a:pt x="280" y="589"/>
                </a:cubicBezTo>
                <a:cubicBezTo>
                  <a:pt x="89" y="589"/>
                  <a:pt x="89" y="589"/>
                  <a:pt x="89" y="589"/>
                </a:cubicBezTo>
                <a:cubicBezTo>
                  <a:pt x="59" y="589"/>
                  <a:pt x="44" y="574"/>
                  <a:pt x="44" y="545"/>
                </a:cubicBezTo>
                <a:cubicBezTo>
                  <a:pt x="44" y="427"/>
                  <a:pt x="44" y="427"/>
                  <a:pt x="44" y="427"/>
                </a:cubicBezTo>
                <a:cubicBezTo>
                  <a:pt x="324" y="427"/>
                  <a:pt x="324" y="427"/>
                  <a:pt x="324" y="427"/>
                </a:cubicBezTo>
                <a:lnTo>
                  <a:pt x="324" y="545"/>
                </a:lnTo>
                <a:close/>
                <a:moveTo>
                  <a:pt x="324" y="398"/>
                </a:moveTo>
                <a:lnTo>
                  <a:pt x="324" y="398"/>
                </a:lnTo>
                <a:cubicBezTo>
                  <a:pt x="44" y="398"/>
                  <a:pt x="44" y="398"/>
                  <a:pt x="44" y="398"/>
                </a:cubicBezTo>
                <a:cubicBezTo>
                  <a:pt x="44" y="133"/>
                  <a:pt x="44" y="133"/>
                  <a:pt x="44" y="133"/>
                </a:cubicBezTo>
                <a:cubicBezTo>
                  <a:pt x="324" y="133"/>
                  <a:pt x="324" y="133"/>
                  <a:pt x="324" y="133"/>
                </a:cubicBezTo>
                <a:lnTo>
                  <a:pt x="324" y="398"/>
                </a:lnTo>
                <a:close/>
                <a:moveTo>
                  <a:pt x="324" y="103"/>
                </a:moveTo>
                <a:lnTo>
                  <a:pt x="324" y="103"/>
                </a:lnTo>
                <a:cubicBezTo>
                  <a:pt x="44" y="103"/>
                  <a:pt x="44" y="103"/>
                  <a:pt x="44" y="103"/>
                </a:cubicBezTo>
                <a:cubicBezTo>
                  <a:pt x="44" y="74"/>
                  <a:pt x="44" y="74"/>
                  <a:pt x="44" y="74"/>
                </a:cubicBezTo>
                <a:cubicBezTo>
                  <a:pt x="44" y="59"/>
                  <a:pt x="59" y="44"/>
                  <a:pt x="89" y="44"/>
                </a:cubicBezTo>
                <a:cubicBezTo>
                  <a:pt x="280" y="44"/>
                  <a:pt x="280" y="44"/>
                  <a:pt x="280" y="44"/>
                </a:cubicBezTo>
                <a:cubicBezTo>
                  <a:pt x="294" y="44"/>
                  <a:pt x="324" y="59"/>
                  <a:pt x="324" y="74"/>
                </a:cubicBezTo>
                <a:lnTo>
                  <a:pt x="324" y="10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68580" tIns="34290" rIns="68580" bIns="3429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67" name="Freeform 66"/>
          <p:cNvSpPr>
            <a:spLocks noChangeArrowheads="1"/>
          </p:cNvSpPr>
          <p:nvPr/>
        </p:nvSpPr>
        <p:spPr bwMode="auto">
          <a:xfrm>
            <a:off x="3413138" y="1718482"/>
            <a:ext cx="197871" cy="242644"/>
          </a:xfrm>
          <a:custGeom>
            <a:avLst/>
            <a:gdLst>
              <a:gd name="T0" fmla="*/ 159349 w 501"/>
              <a:gd name="T1" fmla="*/ 47329 h 619"/>
              <a:gd name="T2" fmla="*/ 159349 w 501"/>
              <a:gd name="T3" fmla="*/ 47329 h 619"/>
              <a:gd name="T4" fmla="*/ 127551 w 501"/>
              <a:gd name="T5" fmla="*/ 94658 h 619"/>
              <a:gd name="T6" fmla="*/ 106233 w 501"/>
              <a:gd name="T7" fmla="*/ 0 h 619"/>
              <a:gd name="T8" fmla="*/ 47696 w 501"/>
              <a:gd name="T9" fmla="*/ 126570 h 619"/>
              <a:gd name="T10" fmla="*/ 26377 w 501"/>
              <a:gd name="T11" fmla="*/ 73504 h 619"/>
              <a:gd name="T12" fmla="*/ 0 w 501"/>
              <a:gd name="T13" fmla="*/ 131589 h 619"/>
              <a:gd name="T14" fmla="*/ 90334 w 501"/>
              <a:gd name="T15" fmla="*/ 221586 h 619"/>
              <a:gd name="T16" fmla="*/ 180668 w 501"/>
              <a:gd name="T17" fmla="*/ 131589 h 619"/>
              <a:gd name="T18" fmla="*/ 159349 w 501"/>
              <a:gd name="T19" fmla="*/ 47329 h 619"/>
              <a:gd name="T20" fmla="*/ 95754 w 501"/>
              <a:gd name="T21" fmla="*/ 210830 h 619"/>
              <a:gd name="T22" fmla="*/ 95754 w 501"/>
              <a:gd name="T23" fmla="*/ 210830 h 619"/>
              <a:gd name="T24" fmla="*/ 10479 w 501"/>
              <a:gd name="T25" fmla="*/ 126570 h 619"/>
              <a:gd name="T26" fmla="*/ 21319 w 501"/>
              <a:gd name="T27" fmla="*/ 105415 h 619"/>
              <a:gd name="T28" fmla="*/ 63956 w 501"/>
              <a:gd name="T29" fmla="*/ 142346 h 619"/>
              <a:gd name="T30" fmla="*/ 90334 w 501"/>
              <a:gd name="T31" fmla="*/ 20796 h 619"/>
              <a:gd name="T32" fmla="*/ 138030 w 501"/>
              <a:gd name="T33" fmla="*/ 115813 h 619"/>
              <a:gd name="T34" fmla="*/ 148870 w 501"/>
              <a:gd name="T35" fmla="*/ 73504 h 619"/>
              <a:gd name="T36" fmla="*/ 170189 w 501"/>
              <a:gd name="T37" fmla="*/ 131589 h 619"/>
              <a:gd name="T38" fmla="*/ 95754 w 501"/>
              <a:gd name="T39" fmla="*/ 210830 h 619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0" t="0" r="r" b="b"/>
            <a:pathLst>
              <a:path w="501" h="619">
                <a:moveTo>
                  <a:pt x="441" y="132"/>
                </a:moveTo>
                <a:lnTo>
                  <a:pt x="441" y="132"/>
                </a:lnTo>
                <a:cubicBezTo>
                  <a:pt x="353" y="162"/>
                  <a:pt x="339" y="220"/>
                  <a:pt x="353" y="264"/>
                </a:cubicBezTo>
                <a:cubicBezTo>
                  <a:pt x="280" y="191"/>
                  <a:pt x="294" y="117"/>
                  <a:pt x="294" y="0"/>
                </a:cubicBezTo>
                <a:cubicBezTo>
                  <a:pt x="88" y="73"/>
                  <a:pt x="132" y="279"/>
                  <a:pt x="132" y="353"/>
                </a:cubicBezTo>
                <a:cubicBezTo>
                  <a:pt x="88" y="309"/>
                  <a:pt x="73" y="205"/>
                  <a:pt x="73" y="205"/>
                </a:cubicBezTo>
                <a:cubicBezTo>
                  <a:pt x="14" y="235"/>
                  <a:pt x="0" y="309"/>
                  <a:pt x="0" y="367"/>
                </a:cubicBezTo>
                <a:cubicBezTo>
                  <a:pt x="0" y="515"/>
                  <a:pt x="103" y="618"/>
                  <a:pt x="250" y="618"/>
                </a:cubicBezTo>
                <a:cubicBezTo>
                  <a:pt x="397" y="618"/>
                  <a:pt x="500" y="515"/>
                  <a:pt x="500" y="367"/>
                </a:cubicBezTo>
                <a:cubicBezTo>
                  <a:pt x="500" y="279"/>
                  <a:pt x="441" y="250"/>
                  <a:pt x="441" y="132"/>
                </a:cubicBezTo>
                <a:close/>
                <a:moveTo>
                  <a:pt x="265" y="588"/>
                </a:moveTo>
                <a:lnTo>
                  <a:pt x="265" y="588"/>
                </a:lnTo>
                <a:cubicBezTo>
                  <a:pt x="132" y="588"/>
                  <a:pt x="29" y="485"/>
                  <a:pt x="29" y="353"/>
                </a:cubicBezTo>
                <a:cubicBezTo>
                  <a:pt x="29" y="338"/>
                  <a:pt x="29" y="309"/>
                  <a:pt x="59" y="294"/>
                </a:cubicBezTo>
                <a:cubicBezTo>
                  <a:pt x="59" y="309"/>
                  <a:pt x="88" y="412"/>
                  <a:pt x="177" y="397"/>
                </a:cubicBezTo>
                <a:cubicBezTo>
                  <a:pt x="177" y="323"/>
                  <a:pt x="147" y="117"/>
                  <a:pt x="250" y="58"/>
                </a:cubicBezTo>
                <a:cubicBezTo>
                  <a:pt x="250" y="162"/>
                  <a:pt x="265" y="309"/>
                  <a:pt x="382" y="323"/>
                </a:cubicBezTo>
                <a:cubicBezTo>
                  <a:pt x="382" y="279"/>
                  <a:pt x="382" y="220"/>
                  <a:pt x="412" y="205"/>
                </a:cubicBezTo>
                <a:cubicBezTo>
                  <a:pt x="412" y="264"/>
                  <a:pt x="471" y="309"/>
                  <a:pt x="471" y="367"/>
                </a:cubicBezTo>
                <a:cubicBezTo>
                  <a:pt x="471" y="485"/>
                  <a:pt x="353" y="588"/>
                  <a:pt x="265" y="58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68580" tIns="34290" rIns="68580" bIns="3429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68" name="Freeform 67"/>
          <p:cNvSpPr>
            <a:spLocks noChangeArrowheads="1"/>
          </p:cNvSpPr>
          <p:nvPr/>
        </p:nvSpPr>
        <p:spPr bwMode="auto">
          <a:xfrm>
            <a:off x="1261962" y="1344860"/>
            <a:ext cx="254198" cy="232535"/>
          </a:xfrm>
          <a:custGeom>
            <a:avLst/>
            <a:gdLst>
              <a:gd name="T0" fmla="*/ 184545 w 649"/>
              <a:gd name="T1" fmla="*/ 26677 h 590"/>
              <a:gd name="T2" fmla="*/ 184545 w 649"/>
              <a:gd name="T3" fmla="*/ 26677 h 590"/>
              <a:gd name="T4" fmla="*/ 158386 w 649"/>
              <a:gd name="T5" fmla="*/ 0 h 590"/>
              <a:gd name="T6" fmla="*/ 73818 w 649"/>
              <a:gd name="T7" fmla="*/ 0 h 590"/>
              <a:gd name="T8" fmla="*/ 47659 w 649"/>
              <a:gd name="T9" fmla="*/ 26677 h 590"/>
              <a:gd name="T10" fmla="*/ 5375 w 649"/>
              <a:gd name="T11" fmla="*/ 58402 h 590"/>
              <a:gd name="T12" fmla="*/ 47659 w 649"/>
              <a:gd name="T13" fmla="*/ 100941 h 590"/>
              <a:gd name="T14" fmla="*/ 52676 w 649"/>
              <a:gd name="T15" fmla="*/ 100941 h 590"/>
              <a:gd name="T16" fmla="*/ 110727 w 649"/>
              <a:gd name="T17" fmla="*/ 153935 h 590"/>
              <a:gd name="T18" fmla="*/ 110727 w 649"/>
              <a:gd name="T19" fmla="*/ 196474 h 590"/>
              <a:gd name="T20" fmla="*/ 89585 w 649"/>
              <a:gd name="T21" fmla="*/ 196474 h 590"/>
              <a:gd name="T22" fmla="*/ 79193 w 649"/>
              <a:gd name="T23" fmla="*/ 206929 h 590"/>
              <a:gd name="T24" fmla="*/ 89585 w 649"/>
              <a:gd name="T25" fmla="*/ 212336 h 590"/>
              <a:gd name="T26" fmla="*/ 142261 w 649"/>
              <a:gd name="T27" fmla="*/ 212336 h 590"/>
              <a:gd name="T28" fmla="*/ 153011 w 649"/>
              <a:gd name="T29" fmla="*/ 206929 h 590"/>
              <a:gd name="T30" fmla="*/ 142261 w 649"/>
              <a:gd name="T31" fmla="*/ 196474 h 590"/>
              <a:gd name="T32" fmla="*/ 121477 w 649"/>
              <a:gd name="T33" fmla="*/ 196474 h 590"/>
              <a:gd name="T34" fmla="*/ 121477 w 649"/>
              <a:gd name="T35" fmla="*/ 153935 h 590"/>
              <a:gd name="T36" fmla="*/ 179528 w 649"/>
              <a:gd name="T37" fmla="*/ 100941 h 590"/>
              <a:gd name="T38" fmla="*/ 184545 w 649"/>
              <a:gd name="T39" fmla="*/ 100941 h 590"/>
              <a:gd name="T40" fmla="*/ 226829 w 649"/>
              <a:gd name="T41" fmla="*/ 58402 h 590"/>
              <a:gd name="T42" fmla="*/ 184545 w 649"/>
              <a:gd name="T43" fmla="*/ 26677 h 590"/>
              <a:gd name="T44" fmla="*/ 47659 w 649"/>
              <a:gd name="T45" fmla="*/ 85079 h 590"/>
              <a:gd name="T46" fmla="*/ 47659 w 649"/>
              <a:gd name="T47" fmla="*/ 85079 h 590"/>
              <a:gd name="T48" fmla="*/ 15767 w 649"/>
              <a:gd name="T49" fmla="*/ 58402 h 590"/>
              <a:gd name="T50" fmla="*/ 47659 w 649"/>
              <a:gd name="T51" fmla="*/ 42539 h 590"/>
              <a:gd name="T52" fmla="*/ 47659 w 649"/>
              <a:gd name="T53" fmla="*/ 85079 h 590"/>
              <a:gd name="T54" fmla="*/ 174153 w 649"/>
              <a:gd name="T55" fmla="*/ 68856 h 590"/>
              <a:gd name="T56" fmla="*/ 174153 w 649"/>
              <a:gd name="T57" fmla="*/ 68856 h 590"/>
              <a:gd name="T58" fmla="*/ 116102 w 649"/>
              <a:gd name="T59" fmla="*/ 143480 h 590"/>
              <a:gd name="T60" fmla="*/ 58051 w 649"/>
              <a:gd name="T61" fmla="*/ 68856 h 590"/>
              <a:gd name="T62" fmla="*/ 58051 w 649"/>
              <a:gd name="T63" fmla="*/ 26677 h 590"/>
              <a:gd name="T64" fmla="*/ 73818 w 649"/>
              <a:gd name="T65" fmla="*/ 15862 h 590"/>
              <a:gd name="T66" fmla="*/ 158386 w 649"/>
              <a:gd name="T67" fmla="*/ 15862 h 590"/>
              <a:gd name="T68" fmla="*/ 174153 w 649"/>
              <a:gd name="T69" fmla="*/ 26677 h 590"/>
              <a:gd name="T70" fmla="*/ 174153 w 649"/>
              <a:gd name="T71" fmla="*/ 68856 h 590"/>
              <a:gd name="T72" fmla="*/ 184545 w 649"/>
              <a:gd name="T73" fmla="*/ 85079 h 590"/>
              <a:gd name="T74" fmla="*/ 184545 w 649"/>
              <a:gd name="T75" fmla="*/ 85079 h 590"/>
              <a:gd name="T76" fmla="*/ 184545 w 649"/>
              <a:gd name="T77" fmla="*/ 42539 h 590"/>
              <a:gd name="T78" fmla="*/ 216437 w 649"/>
              <a:gd name="T79" fmla="*/ 58402 h 590"/>
              <a:gd name="T80" fmla="*/ 184545 w 649"/>
              <a:gd name="T81" fmla="*/ 85079 h 590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0" t="0" r="r" b="b"/>
            <a:pathLst>
              <a:path w="649" h="590">
                <a:moveTo>
                  <a:pt x="515" y="74"/>
                </a:moveTo>
                <a:lnTo>
                  <a:pt x="515" y="74"/>
                </a:lnTo>
                <a:cubicBezTo>
                  <a:pt x="515" y="30"/>
                  <a:pt x="486" y="0"/>
                  <a:pt x="442" y="0"/>
                </a:cubicBezTo>
                <a:cubicBezTo>
                  <a:pt x="206" y="0"/>
                  <a:pt x="206" y="0"/>
                  <a:pt x="206" y="0"/>
                </a:cubicBezTo>
                <a:cubicBezTo>
                  <a:pt x="162" y="0"/>
                  <a:pt x="133" y="30"/>
                  <a:pt x="133" y="74"/>
                </a:cubicBezTo>
                <a:cubicBezTo>
                  <a:pt x="0" y="74"/>
                  <a:pt x="15" y="74"/>
                  <a:pt x="15" y="162"/>
                </a:cubicBezTo>
                <a:cubicBezTo>
                  <a:pt x="15" y="221"/>
                  <a:pt x="59" y="280"/>
                  <a:pt x="133" y="280"/>
                </a:cubicBezTo>
                <a:cubicBezTo>
                  <a:pt x="133" y="280"/>
                  <a:pt x="133" y="280"/>
                  <a:pt x="147" y="280"/>
                </a:cubicBezTo>
                <a:cubicBezTo>
                  <a:pt x="162" y="353"/>
                  <a:pt x="236" y="427"/>
                  <a:pt x="309" y="427"/>
                </a:cubicBezTo>
                <a:cubicBezTo>
                  <a:pt x="309" y="545"/>
                  <a:pt x="309" y="545"/>
                  <a:pt x="309" y="545"/>
                </a:cubicBezTo>
                <a:cubicBezTo>
                  <a:pt x="250" y="545"/>
                  <a:pt x="250" y="545"/>
                  <a:pt x="250" y="545"/>
                </a:cubicBezTo>
                <a:cubicBezTo>
                  <a:pt x="236" y="545"/>
                  <a:pt x="221" y="560"/>
                  <a:pt x="221" y="574"/>
                </a:cubicBezTo>
                <a:cubicBezTo>
                  <a:pt x="221" y="574"/>
                  <a:pt x="236" y="589"/>
                  <a:pt x="250" y="589"/>
                </a:cubicBezTo>
                <a:cubicBezTo>
                  <a:pt x="397" y="589"/>
                  <a:pt x="397" y="589"/>
                  <a:pt x="397" y="589"/>
                </a:cubicBezTo>
                <a:cubicBezTo>
                  <a:pt x="413" y="589"/>
                  <a:pt x="427" y="574"/>
                  <a:pt x="427" y="574"/>
                </a:cubicBezTo>
                <a:cubicBezTo>
                  <a:pt x="427" y="560"/>
                  <a:pt x="413" y="545"/>
                  <a:pt x="397" y="545"/>
                </a:cubicBezTo>
                <a:cubicBezTo>
                  <a:pt x="339" y="545"/>
                  <a:pt x="339" y="545"/>
                  <a:pt x="339" y="545"/>
                </a:cubicBezTo>
                <a:cubicBezTo>
                  <a:pt x="339" y="427"/>
                  <a:pt x="339" y="427"/>
                  <a:pt x="339" y="427"/>
                </a:cubicBezTo>
                <a:cubicBezTo>
                  <a:pt x="413" y="427"/>
                  <a:pt x="486" y="353"/>
                  <a:pt x="501" y="280"/>
                </a:cubicBezTo>
                <a:cubicBezTo>
                  <a:pt x="515" y="280"/>
                  <a:pt x="515" y="280"/>
                  <a:pt x="515" y="280"/>
                </a:cubicBezTo>
                <a:cubicBezTo>
                  <a:pt x="589" y="280"/>
                  <a:pt x="633" y="221"/>
                  <a:pt x="633" y="162"/>
                </a:cubicBezTo>
                <a:cubicBezTo>
                  <a:pt x="633" y="74"/>
                  <a:pt x="648" y="74"/>
                  <a:pt x="515" y="74"/>
                </a:cubicBezTo>
                <a:close/>
                <a:moveTo>
                  <a:pt x="133" y="236"/>
                </a:moveTo>
                <a:lnTo>
                  <a:pt x="133" y="236"/>
                </a:lnTo>
                <a:cubicBezTo>
                  <a:pt x="88" y="236"/>
                  <a:pt x="44" y="206"/>
                  <a:pt x="44" y="162"/>
                </a:cubicBezTo>
                <a:cubicBezTo>
                  <a:pt x="44" y="118"/>
                  <a:pt x="44" y="118"/>
                  <a:pt x="133" y="118"/>
                </a:cubicBezTo>
                <a:lnTo>
                  <a:pt x="133" y="236"/>
                </a:lnTo>
                <a:close/>
                <a:moveTo>
                  <a:pt x="486" y="191"/>
                </a:moveTo>
                <a:lnTo>
                  <a:pt x="486" y="191"/>
                </a:lnTo>
                <a:cubicBezTo>
                  <a:pt x="486" y="280"/>
                  <a:pt x="413" y="398"/>
                  <a:pt x="324" y="398"/>
                </a:cubicBezTo>
                <a:cubicBezTo>
                  <a:pt x="236" y="398"/>
                  <a:pt x="162" y="280"/>
                  <a:pt x="162" y="191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62" y="59"/>
                  <a:pt x="192" y="44"/>
                  <a:pt x="206" y="44"/>
                </a:cubicBezTo>
                <a:cubicBezTo>
                  <a:pt x="442" y="44"/>
                  <a:pt x="442" y="44"/>
                  <a:pt x="442" y="44"/>
                </a:cubicBezTo>
                <a:cubicBezTo>
                  <a:pt x="456" y="44"/>
                  <a:pt x="486" y="59"/>
                  <a:pt x="486" y="74"/>
                </a:cubicBezTo>
                <a:lnTo>
                  <a:pt x="486" y="191"/>
                </a:lnTo>
                <a:close/>
                <a:moveTo>
                  <a:pt x="515" y="236"/>
                </a:moveTo>
                <a:lnTo>
                  <a:pt x="515" y="236"/>
                </a:lnTo>
                <a:cubicBezTo>
                  <a:pt x="515" y="118"/>
                  <a:pt x="515" y="118"/>
                  <a:pt x="515" y="118"/>
                </a:cubicBezTo>
                <a:cubicBezTo>
                  <a:pt x="604" y="118"/>
                  <a:pt x="604" y="118"/>
                  <a:pt x="604" y="162"/>
                </a:cubicBezTo>
                <a:cubicBezTo>
                  <a:pt x="604" y="206"/>
                  <a:pt x="560" y="236"/>
                  <a:pt x="515" y="23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none" lIns="68580" tIns="34290" rIns="68580" bIns="3429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sp>
        <p:nvSpPr>
          <p:cNvPr id="48" name="Title 5"/>
          <p:cNvSpPr>
            <a:spLocks noGrp="1"/>
          </p:cNvSpPr>
          <p:nvPr>
            <p:ph type="title"/>
          </p:nvPr>
        </p:nvSpPr>
        <p:spPr>
          <a:xfrm>
            <a:off x="381000" y="209550"/>
            <a:ext cx="8368364" cy="495383"/>
          </a:xfrm>
        </p:spPr>
        <p:txBody>
          <a:bodyPr/>
          <a:lstStyle/>
          <a:p>
            <a:r>
              <a:rPr lang="en-US" sz="3200" b="1" dirty="0">
                <a:cs typeface="Century Gothic"/>
              </a:rPr>
              <a:t>Scholarships and price</a:t>
            </a:r>
            <a:endParaRPr lang="en-US" sz="3200" dirty="0">
              <a:cs typeface="Century Gothic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71500" y="3117562"/>
            <a:ext cx="25146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State scholarships for Ukrainian students (2024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FC04059-09BB-40AC-999A-00C3E70E86F8}"/>
              </a:ext>
            </a:extLst>
          </p:cNvPr>
          <p:cNvGrpSpPr/>
          <p:nvPr/>
        </p:nvGrpSpPr>
        <p:grpSpPr>
          <a:xfrm>
            <a:off x="1585781" y="1276350"/>
            <a:ext cx="488815" cy="488815"/>
            <a:chOff x="1585781" y="1276350"/>
            <a:chExt cx="488815" cy="488815"/>
          </a:xfrm>
        </p:grpSpPr>
        <p:sp>
          <p:nvSpPr>
            <p:cNvPr id="20" name="Oval 19"/>
            <p:cNvSpPr/>
            <p:nvPr/>
          </p:nvSpPr>
          <p:spPr>
            <a:xfrm>
              <a:off x="1585781" y="1276350"/>
              <a:ext cx="488815" cy="488815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59" name="AutoShape 82"/>
            <p:cNvSpPr>
              <a:spLocks/>
            </p:cNvSpPr>
            <p:nvPr/>
          </p:nvSpPr>
          <p:spPr bwMode="auto">
            <a:xfrm>
              <a:off x="1717217" y="1411029"/>
              <a:ext cx="228541" cy="228600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3767" y="5419"/>
                  </a:moveTo>
                  <a:cubicBezTo>
                    <a:pt x="4051" y="5419"/>
                    <a:pt x="4271" y="5505"/>
                    <a:pt x="4428" y="5687"/>
                  </a:cubicBezTo>
                  <a:cubicBezTo>
                    <a:pt x="4586" y="5865"/>
                    <a:pt x="4701" y="6078"/>
                    <a:pt x="4766" y="6326"/>
                  </a:cubicBezTo>
                  <a:cubicBezTo>
                    <a:pt x="4835" y="6574"/>
                    <a:pt x="4879" y="6836"/>
                    <a:pt x="4893" y="7106"/>
                  </a:cubicBezTo>
                  <a:cubicBezTo>
                    <a:pt x="4910" y="7377"/>
                    <a:pt x="4917" y="7596"/>
                    <a:pt x="4917" y="7760"/>
                  </a:cubicBezTo>
                  <a:lnTo>
                    <a:pt x="4917" y="9856"/>
                  </a:lnTo>
                  <a:cubicBezTo>
                    <a:pt x="4809" y="9928"/>
                    <a:pt x="4720" y="10015"/>
                    <a:pt x="4646" y="10110"/>
                  </a:cubicBezTo>
                  <a:cubicBezTo>
                    <a:pt x="4574" y="10208"/>
                    <a:pt x="4468" y="10257"/>
                    <a:pt x="4329" y="10257"/>
                  </a:cubicBezTo>
                  <a:lnTo>
                    <a:pt x="561" y="10257"/>
                  </a:lnTo>
                  <a:cubicBezTo>
                    <a:pt x="439" y="10257"/>
                    <a:pt x="338" y="10208"/>
                    <a:pt x="256" y="10110"/>
                  </a:cubicBezTo>
                  <a:cubicBezTo>
                    <a:pt x="177" y="10015"/>
                    <a:pt x="93" y="9928"/>
                    <a:pt x="0" y="9856"/>
                  </a:cubicBezTo>
                  <a:lnTo>
                    <a:pt x="0" y="7760"/>
                  </a:lnTo>
                  <a:cubicBezTo>
                    <a:pt x="0" y="7596"/>
                    <a:pt x="4" y="7377"/>
                    <a:pt x="12" y="7106"/>
                  </a:cubicBezTo>
                  <a:cubicBezTo>
                    <a:pt x="19" y="6836"/>
                    <a:pt x="57" y="6574"/>
                    <a:pt x="124" y="6326"/>
                  </a:cubicBezTo>
                  <a:cubicBezTo>
                    <a:pt x="196" y="6078"/>
                    <a:pt x="309" y="5865"/>
                    <a:pt x="465" y="5687"/>
                  </a:cubicBezTo>
                  <a:cubicBezTo>
                    <a:pt x="624" y="5508"/>
                    <a:pt x="842" y="5419"/>
                    <a:pt x="1123" y="5419"/>
                  </a:cubicBezTo>
                  <a:cubicBezTo>
                    <a:pt x="782" y="5151"/>
                    <a:pt x="508" y="4803"/>
                    <a:pt x="304" y="4377"/>
                  </a:cubicBezTo>
                  <a:cubicBezTo>
                    <a:pt x="103" y="3950"/>
                    <a:pt x="0" y="3469"/>
                    <a:pt x="0" y="2937"/>
                  </a:cubicBezTo>
                  <a:cubicBezTo>
                    <a:pt x="0" y="2539"/>
                    <a:pt x="64" y="2162"/>
                    <a:pt x="189" y="1805"/>
                  </a:cubicBezTo>
                  <a:cubicBezTo>
                    <a:pt x="316" y="1448"/>
                    <a:pt x="491" y="1134"/>
                    <a:pt x="717" y="861"/>
                  </a:cubicBezTo>
                  <a:cubicBezTo>
                    <a:pt x="943" y="590"/>
                    <a:pt x="1207" y="380"/>
                    <a:pt x="1504" y="227"/>
                  </a:cubicBezTo>
                  <a:cubicBezTo>
                    <a:pt x="1804" y="77"/>
                    <a:pt x="2119" y="0"/>
                    <a:pt x="2445" y="0"/>
                  </a:cubicBezTo>
                  <a:cubicBezTo>
                    <a:pt x="2793" y="0"/>
                    <a:pt x="3115" y="77"/>
                    <a:pt x="3412" y="227"/>
                  </a:cubicBezTo>
                  <a:cubicBezTo>
                    <a:pt x="3712" y="380"/>
                    <a:pt x="3969" y="590"/>
                    <a:pt x="4188" y="861"/>
                  </a:cubicBezTo>
                  <a:cubicBezTo>
                    <a:pt x="4406" y="1134"/>
                    <a:pt x="4584" y="1448"/>
                    <a:pt x="4716" y="1805"/>
                  </a:cubicBezTo>
                  <a:cubicBezTo>
                    <a:pt x="4850" y="2162"/>
                    <a:pt x="4917" y="2539"/>
                    <a:pt x="4917" y="2937"/>
                  </a:cubicBezTo>
                  <a:cubicBezTo>
                    <a:pt x="4917" y="3458"/>
                    <a:pt x="4814" y="3939"/>
                    <a:pt x="4603" y="4371"/>
                  </a:cubicBezTo>
                  <a:cubicBezTo>
                    <a:pt x="4392" y="4800"/>
                    <a:pt x="4115" y="5151"/>
                    <a:pt x="3767" y="5419"/>
                  </a:cubicBezTo>
                  <a:moveTo>
                    <a:pt x="18165" y="12062"/>
                  </a:moveTo>
                  <a:cubicBezTo>
                    <a:pt x="18672" y="12604"/>
                    <a:pt x="19070" y="13142"/>
                    <a:pt x="19356" y="13669"/>
                  </a:cubicBezTo>
                  <a:cubicBezTo>
                    <a:pt x="19641" y="14196"/>
                    <a:pt x="19788" y="14801"/>
                    <a:pt x="19788" y="15480"/>
                  </a:cubicBezTo>
                  <a:lnTo>
                    <a:pt x="19788" y="20816"/>
                  </a:lnTo>
                  <a:cubicBezTo>
                    <a:pt x="19694" y="20868"/>
                    <a:pt x="19620" y="20931"/>
                    <a:pt x="19557" y="20995"/>
                  </a:cubicBezTo>
                  <a:cubicBezTo>
                    <a:pt x="19497" y="21061"/>
                    <a:pt x="19425" y="21122"/>
                    <a:pt x="19344" y="21191"/>
                  </a:cubicBezTo>
                  <a:cubicBezTo>
                    <a:pt x="19262" y="21251"/>
                    <a:pt x="19173" y="21317"/>
                    <a:pt x="19075" y="21386"/>
                  </a:cubicBezTo>
                  <a:cubicBezTo>
                    <a:pt x="18976" y="21455"/>
                    <a:pt x="18835" y="21528"/>
                    <a:pt x="18662" y="21599"/>
                  </a:cubicBezTo>
                  <a:lnTo>
                    <a:pt x="2942" y="21599"/>
                  </a:lnTo>
                  <a:cubicBezTo>
                    <a:pt x="2675" y="21599"/>
                    <a:pt x="2467" y="21499"/>
                    <a:pt x="2318" y="21291"/>
                  </a:cubicBezTo>
                  <a:cubicBezTo>
                    <a:pt x="2167" y="21081"/>
                    <a:pt x="2003" y="20926"/>
                    <a:pt x="1819" y="20816"/>
                  </a:cubicBezTo>
                  <a:lnTo>
                    <a:pt x="1819" y="15480"/>
                  </a:lnTo>
                  <a:cubicBezTo>
                    <a:pt x="1819" y="14763"/>
                    <a:pt x="1989" y="14127"/>
                    <a:pt x="2335" y="13571"/>
                  </a:cubicBezTo>
                  <a:cubicBezTo>
                    <a:pt x="2678" y="13018"/>
                    <a:pt x="3052" y="12511"/>
                    <a:pt x="3460" y="12062"/>
                  </a:cubicBezTo>
                  <a:cubicBezTo>
                    <a:pt x="3535" y="11970"/>
                    <a:pt x="3633" y="11869"/>
                    <a:pt x="3753" y="11766"/>
                  </a:cubicBezTo>
                  <a:cubicBezTo>
                    <a:pt x="3873" y="11659"/>
                    <a:pt x="4000" y="11590"/>
                    <a:pt x="4137" y="11553"/>
                  </a:cubicBezTo>
                  <a:cubicBezTo>
                    <a:pt x="4276" y="11495"/>
                    <a:pt x="4432" y="11466"/>
                    <a:pt x="4610" y="11455"/>
                  </a:cubicBezTo>
                  <a:cubicBezTo>
                    <a:pt x="4785" y="11446"/>
                    <a:pt x="4956" y="11423"/>
                    <a:pt x="5126" y="11388"/>
                  </a:cubicBezTo>
                  <a:cubicBezTo>
                    <a:pt x="5594" y="11299"/>
                    <a:pt x="6091" y="11210"/>
                    <a:pt x="6621" y="11121"/>
                  </a:cubicBezTo>
                  <a:cubicBezTo>
                    <a:pt x="7149" y="11034"/>
                    <a:pt x="7665" y="10945"/>
                    <a:pt x="8172" y="10853"/>
                  </a:cubicBezTo>
                  <a:cubicBezTo>
                    <a:pt x="7483" y="10326"/>
                    <a:pt x="6928" y="9632"/>
                    <a:pt x="6513" y="8762"/>
                  </a:cubicBezTo>
                  <a:cubicBezTo>
                    <a:pt x="6093" y="7896"/>
                    <a:pt x="5884" y="6940"/>
                    <a:pt x="5884" y="5903"/>
                  </a:cubicBezTo>
                  <a:cubicBezTo>
                    <a:pt x="5884" y="5097"/>
                    <a:pt x="6016" y="4331"/>
                    <a:pt x="6275" y="3608"/>
                  </a:cubicBezTo>
                  <a:cubicBezTo>
                    <a:pt x="6535" y="2885"/>
                    <a:pt x="6887" y="2260"/>
                    <a:pt x="7331" y="1733"/>
                  </a:cubicBezTo>
                  <a:cubicBezTo>
                    <a:pt x="7778" y="1203"/>
                    <a:pt x="8299" y="786"/>
                    <a:pt x="8894" y="472"/>
                  </a:cubicBezTo>
                  <a:cubicBezTo>
                    <a:pt x="9494" y="158"/>
                    <a:pt x="10125" y="3"/>
                    <a:pt x="10802" y="3"/>
                  </a:cubicBezTo>
                  <a:cubicBezTo>
                    <a:pt x="11476" y="3"/>
                    <a:pt x="12112" y="158"/>
                    <a:pt x="12710" y="472"/>
                  </a:cubicBezTo>
                  <a:cubicBezTo>
                    <a:pt x="13307" y="786"/>
                    <a:pt x="13826" y="1203"/>
                    <a:pt x="14272" y="1733"/>
                  </a:cubicBezTo>
                  <a:cubicBezTo>
                    <a:pt x="14716" y="2260"/>
                    <a:pt x="15067" y="2885"/>
                    <a:pt x="15328" y="3608"/>
                  </a:cubicBezTo>
                  <a:cubicBezTo>
                    <a:pt x="15590" y="4331"/>
                    <a:pt x="15719" y="5097"/>
                    <a:pt x="15719" y="5903"/>
                  </a:cubicBezTo>
                  <a:cubicBezTo>
                    <a:pt x="15719" y="6939"/>
                    <a:pt x="15513" y="7890"/>
                    <a:pt x="15100" y="8757"/>
                  </a:cubicBezTo>
                  <a:cubicBezTo>
                    <a:pt x="14685" y="9620"/>
                    <a:pt x="14128" y="10320"/>
                    <a:pt x="13432" y="10853"/>
                  </a:cubicBezTo>
                  <a:cubicBezTo>
                    <a:pt x="13936" y="10945"/>
                    <a:pt x="14452" y="11031"/>
                    <a:pt x="14978" y="11115"/>
                  </a:cubicBezTo>
                  <a:cubicBezTo>
                    <a:pt x="15504" y="11198"/>
                    <a:pt x="16005" y="11288"/>
                    <a:pt x="16478" y="11388"/>
                  </a:cubicBezTo>
                  <a:cubicBezTo>
                    <a:pt x="16653" y="11426"/>
                    <a:pt x="16826" y="11449"/>
                    <a:pt x="16994" y="11455"/>
                  </a:cubicBezTo>
                  <a:cubicBezTo>
                    <a:pt x="17162" y="11466"/>
                    <a:pt x="17323" y="11495"/>
                    <a:pt x="17467" y="11553"/>
                  </a:cubicBezTo>
                  <a:cubicBezTo>
                    <a:pt x="17603" y="11590"/>
                    <a:pt x="17731" y="11659"/>
                    <a:pt x="17851" y="11766"/>
                  </a:cubicBezTo>
                  <a:cubicBezTo>
                    <a:pt x="17966" y="11869"/>
                    <a:pt x="18074" y="11970"/>
                    <a:pt x="18165" y="12062"/>
                  </a:cubicBezTo>
                  <a:moveTo>
                    <a:pt x="20474" y="5419"/>
                  </a:moveTo>
                  <a:cubicBezTo>
                    <a:pt x="20757" y="5419"/>
                    <a:pt x="20973" y="5505"/>
                    <a:pt x="21124" y="5687"/>
                  </a:cubicBezTo>
                  <a:cubicBezTo>
                    <a:pt x="21271" y="5865"/>
                    <a:pt x="21381" y="6078"/>
                    <a:pt x="21448" y="6326"/>
                  </a:cubicBezTo>
                  <a:cubicBezTo>
                    <a:pt x="21520" y="6574"/>
                    <a:pt x="21561" y="6836"/>
                    <a:pt x="21576" y="7106"/>
                  </a:cubicBezTo>
                  <a:cubicBezTo>
                    <a:pt x="21592" y="7377"/>
                    <a:pt x="21599" y="7596"/>
                    <a:pt x="21599" y="7760"/>
                  </a:cubicBezTo>
                  <a:lnTo>
                    <a:pt x="21599" y="9856"/>
                  </a:lnTo>
                  <a:cubicBezTo>
                    <a:pt x="21508" y="9928"/>
                    <a:pt x="21422" y="10015"/>
                    <a:pt x="21340" y="10110"/>
                  </a:cubicBezTo>
                  <a:cubicBezTo>
                    <a:pt x="21261" y="10208"/>
                    <a:pt x="21158" y="10257"/>
                    <a:pt x="21036" y="10257"/>
                  </a:cubicBezTo>
                  <a:lnTo>
                    <a:pt x="17268" y="10257"/>
                  </a:lnTo>
                  <a:cubicBezTo>
                    <a:pt x="17131" y="10257"/>
                    <a:pt x="17023" y="10208"/>
                    <a:pt x="16953" y="10110"/>
                  </a:cubicBezTo>
                  <a:cubicBezTo>
                    <a:pt x="16879" y="10015"/>
                    <a:pt x="16790" y="9928"/>
                    <a:pt x="16682" y="9856"/>
                  </a:cubicBezTo>
                  <a:lnTo>
                    <a:pt x="16682" y="7760"/>
                  </a:lnTo>
                  <a:cubicBezTo>
                    <a:pt x="16682" y="7596"/>
                    <a:pt x="16692" y="7377"/>
                    <a:pt x="16706" y="7106"/>
                  </a:cubicBezTo>
                  <a:cubicBezTo>
                    <a:pt x="16720" y="6836"/>
                    <a:pt x="16766" y="6574"/>
                    <a:pt x="16836" y="6326"/>
                  </a:cubicBezTo>
                  <a:cubicBezTo>
                    <a:pt x="16912" y="6078"/>
                    <a:pt x="17023" y="5865"/>
                    <a:pt x="17183" y="5687"/>
                  </a:cubicBezTo>
                  <a:cubicBezTo>
                    <a:pt x="17337" y="5508"/>
                    <a:pt x="17556" y="5419"/>
                    <a:pt x="17829" y="5419"/>
                  </a:cubicBezTo>
                  <a:cubicBezTo>
                    <a:pt x="17488" y="5151"/>
                    <a:pt x="17210" y="4803"/>
                    <a:pt x="16999" y="4377"/>
                  </a:cubicBezTo>
                  <a:cubicBezTo>
                    <a:pt x="16788" y="3950"/>
                    <a:pt x="16682" y="3469"/>
                    <a:pt x="16682" y="2937"/>
                  </a:cubicBezTo>
                  <a:cubicBezTo>
                    <a:pt x="16682" y="2539"/>
                    <a:pt x="16744" y="2162"/>
                    <a:pt x="16872" y="1805"/>
                  </a:cubicBezTo>
                  <a:cubicBezTo>
                    <a:pt x="16999" y="1448"/>
                    <a:pt x="17174" y="1134"/>
                    <a:pt x="17400" y="861"/>
                  </a:cubicBezTo>
                  <a:cubicBezTo>
                    <a:pt x="17625" y="590"/>
                    <a:pt x="17889" y="380"/>
                    <a:pt x="18187" y="227"/>
                  </a:cubicBezTo>
                  <a:cubicBezTo>
                    <a:pt x="18487" y="77"/>
                    <a:pt x="18808" y="0"/>
                    <a:pt x="19152" y="0"/>
                  </a:cubicBezTo>
                  <a:cubicBezTo>
                    <a:pt x="19480" y="0"/>
                    <a:pt x="19795" y="77"/>
                    <a:pt x="20095" y="227"/>
                  </a:cubicBezTo>
                  <a:cubicBezTo>
                    <a:pt x="20395" y="380"/>
                    <a:pt x="20656" y="590"/>
                    <a:pt x="20882" y="861"/>
                  </a:cubicBezTo>
                  <a:cubicBezTo>
                    <a:pt x="21108" y="1134"/>
                    <a:pt x="21285" y="1448"/>
                    <a:pt x="21412" y="1805"/>
                  </a:cubicBezTo>
                  <a:cubicBezTo>
                    <a:pt x="21537" y="2162"/>
                    <a:pt x="21599" y="2539"/>
                    <a:pt x="21599" y="2937"/>
                  </a:cubicBezTo>
                  <a:cubicBezTo>
                    <a:pt x="21599" y="3458"/>
                    <a:pt x="21499" y="3939"/>
                    <a:pt x="21295" y="4371"/>
                  </a:cubicBezTo>
                  <a:cubicBezTo>
                    <a:pt x="21093" y="4800"/>
                    <a:pt x="20820" y="5151"/>
                    <a:pt x="20474" y="541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</p:spPr>
          <p:txBody>
            <a:bodyPr lIns="50789" tIns="50789" rIns="50789" bIns="50789" anchor="ctr"/>
            <a:lstStyle/>
            <a:p>
              <a:pPr marL="0" marR="0" lvl="0" indent="0" algn="l" defTabSz="45709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Gill Sans" charset="0"/>
                <a:ea typeface="+mn-ea"/>
                <a:cs typeface="Gill Sans" charset="0"/>
                <a:sym typeface="Gill Sans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4091CDED-3B24-4357-A5A7-BBFAA1547932}"/>
              </a:ext>
            </a:extLst>
          </p:cNvPr>
          <p:cNvGrpSpPr/>
          <p:nvPr/>
        </p:nvGrpSpPr>
        <p:grpSpPr>
          <a:xfrm>
            <a:off x="4327591" y="1276350"/>
            <a:ext cx="488815" cy="488815"/>
            <a:chOff x="4327591" y="1276350"/>
            <a:chExt cx="488815" cy="488815"/>
          </a:xfrm>
        </p:grpSpPr>
        <p:sp>
          <p:nvSpPr>
            <p:cNvPr id="42" name="Oval 41"/>
            <p:cNvSpPr/>
            <p:nvPr/>
          </p:nvSpPr>
          <p:spPr>
            <a:xfrm>
              <a:off x="4327591" y="1276350"/>
              <a:ext cx="488815" cy="488815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64" name="组合 59"/>
            <p:cNvGrpSpPr/>
            <p:nvPr/>
          </p:nvGrpSpPr>
          <p:grpSpPr>
            <a:xfrm>
              <a:off x="4460240" y="1371600"/>
              <a:ext cx="231818" cy="285956"/>
              <a:chOff x="4219575" y="4668838"/>
              <a:chExt cx="442913" cy="442913"/>
            </a:xfrm>
            <a:solidFill>
              <a:srgbClr val="FFFFFF"/>
            </a:solidFill>
          </p:grpSpPr>
          <p:sp>
            <p:nvSpPr>
              <p:cNvPr id="71" name="Freeform 5"/>
              <p:cNvSpPr>
                <a:spLocks/>
              </p:cNvSpPr>
              <p:nvPr/>
            </p:nvSpPr>
            <p:spPr bwMode="auto">
              <a:xfrm>
                <a:off x="4222750" y="4668838"/>
                <a:ext cx="368300" cy="255588"/>
              </a:xfrm>
              <a:custGeom>
                <a:avLst/>
                <a:gdLst>
                  <a:gd name="T0" fmla="*/ 95 w 97"/>
                  <a:gd name="T1" fmla="*/ 0 h 68"/>
                  <a:gd name="T2" fmla="*/ 68 w 97"/>
                  <a:gd name="T3" fmla="*/ 10 h 68"/>
                  <a:gd name="T4" fmla="*/ 79 w 97"/>
                  <a:gd name="T5" fmla="*/ 16 h 68"/>
                  <a:gd name="T6" fmla="*/ 33 w 97"/>
                  <a:gd name="T7" fmla="*/ 50 h 68"/>
                  <a:gd name="T8" fmla="*/ 5 w 97"/>
                  <a:gd name="T9" fmla="*/ 55 h 68"/>
                  <a:gd name="T10" fmla="*/ 0 w 97"/>
                  <a:gd name="T11" fmla="*/ 55 h 68"/>
                  <a:gd name="T12" fmla="*/ 0 w 97"/>
                  <a:gd name="T13" fmla="*/ 61 h 68"/>
                  <a:gd name="T14" fmla="*/ 0 w 97"/>
                  <a:gd name="T15" fmla="*/ 68 h 68"/>
                  <a:gd name="T16" fmla="*/ 5 w 97"/>
                  <a:gd name="T17" fmla="*/ 68 h 68"/>
                  <a:gd name="T18" fmla="*/ 36 w 97"/>
                  <a:gd name="T19" fmla="*/ 62 h 68"/>
                  <a:gd name="T20" fmla="*/ 68 w 97"/>
                  <a:gd name="T21" fmla="*/ 45 h 68"/>
                  <a:gd name="T22" fmla="*/ 90 w 97"/>
                  <a:gd name="T23" fmla="*/ 22 h 68"/>
                  <a:gd name="T24" fmla="*/ 97 w 97"/>
                  <a:gd name="T25" fmla="*/ 27 h 68"/>
                  <a:gd name="T26" fmla="*/ 95 w 97"/>
                  <a:gd name="T27" fmla="*/ 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7" h="68">
                    <a:moveTo>
                      <a:pt x="95" y="0"/>
                    </a:moveTo>
                    <a:cubicBezTo>
                      <a:pt x="68" y="10"/>
                      <a:pt x="68" y="10"/>
                      <a:pt x="68" y="10"/>
                    </a:cubicBezTo>
                    <a:cubicBezTo>
                      <a:pt x="79" y="16"/>
                      <a:pt x="79" y="16"/>
                      <a:pt x="79" y="16"/>
                    </a:cubicBezTo>
                    <a:cubicBezTo>
                      <a:pt x="68" y="32"/>
                      <a:pt x="52" y="44"/>
                      <a:pt x="33" y="50"/>
                    </a:cubicBezTo>
                    <a:cubicBezTo>
                      <a:pt x="21" y="55"/>
                      <a:pt x="10" y="55"/>
                      <a:pt x="5" y="55"/>
                    </a:cubicBezTo>
                    <a:cubicBezTo>
                      <a:pt x="2" y="55"/>
                      <a:pt x="0" y="55"/>
                      <a:pt x="0" y="55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8"/>
                      <a:pt x="0" y="68"/>
                      <a:pt x="0" y="68"/>
                    </a:cubicBezTo>
                    <a:cubicBezTo>
                      <a:pt x="1" y="68"/>
                      <a:pt x="2" y="68"/>
                      <a:pt x="5" y="68"/>
                    </a:cubicBezTo>
                    <a:cubicBezTo>
                      <a:pt x="11" y="68"/>
                      <a:pt x="23" y="67"/>
                      <a:pt x="36" y="62"/>
                    </a:cubicBezTo>
                    <a:cubicBezTo>
                      <a:pt x="48" y="58"/>
                      <a:pt x="59" y="53"/>
                      <a:pt x="68" y="45"/>
                    </a:cubicBezTo>
                    <a:cubicBezTo>
                      <a:pt x="76" y="39"/>
                      <a:pt x="83" y="31"/>
                      <a:pt x="90" y="22"/>
                    </a:cubicBezTo>
                    <a:cubicBezTo>
                      <a:pt x="97" y="27"/>
                      <a:pt x="97" y="27"/>
                      <a:pt x="97" y="27"/>
                    </a:cubicBezTo>
                    <a:cubicBezTo>
                      <a:pt x="95" y="0"/>
                      <a:pt x="95" y="0"/>
                      <a:pt x="95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2" name="Rectangle 6"/>
              <p:cNvSpPr>
                <a:spLocks noChangeArrowheads="1"/>
              </p:cNvSpPr>
              <p:nvPr/>
            </p:nvSpPr>
            <p:spPr bwMode="auto">
              <a:xfrm>
                <a:off x="4219575" y="4962525"/>
                <a:ext cx="87313" cy="936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3" name="Rectangle 7"/>
              <p:cNvSpPr>
                <a:spLocks noChangeArrowheads="1"/>
              </p:cNvSpPr>
              <p:nvPr/>
            </p:nvSpPr>
            <p:spPr bwMode="auto">
              <a:xfrm>
                <a:off x="4219575" y="4962525"/>
                <a:ext cx="87313" cy="9366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4" name="Rectangle 8"/>
              <p:cNvSpPr>
                <a:spLocks noChangeArrowheads="1"/>
              </p:cNvSpPr>
              <p:nvPr/>
            </p:nvSpPr>
            <p:spPr bwMode="auto">
              <a:xfrm>
                <a:off x="4321175" y="4932363"/>
                <a:ext cx="84138" cy="1238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5" name="Rectangle 9"/>
              <p:cNvSpPr>
                <a:spLocks noChangeArrowheads="1"/>
              </p:cNvSpPr>
              <p:nvPr/>
            </p:nvSpPr>
            <p:spPr bwMode="auto">
              <a:xfrm>
                <a:off x="4321175" y="4932363"/>
                <a:ext cx="84138" cy="1238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6" name="Rectangle 10"/>
              <p:cNvSpPr>
                <a:spLocks noChangeArrowheads="1"/>
              </p:cNvSpPr>
              <p:nvPr/>
            </p:nvSpPr>
            <p:spPr bwMode="auto">
              <a:xfrm>
                <a:off x="4419600" y="4891088"/>
                <a:ext cx="87313" cy="165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7" name="Rectangle 11"/>
              <p:cNvSpPr>
                <a:spLocks noChangeArrowheads="1"/>
              </p:cNvSpPr>
              <p:nvPr/>
            </p:nvSpPr>
            <p:spPr bwMode="auto">
              <a:xfrm>
                <a:off x="4419600" y="4891088"/>
                <a:ext cx="87313" cy="1651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8" name="Rectangle 12"/>
              <p:cNvSpPr>
                <a:spLocks noChangeArrowheads="1"/>
              </p:cNvSpPr>
              <p:nvPr/>
            </p:nvSpPr>
            <p:spPr bwMode="auto">
              <a:xfrm>
                <a:off x="4522788" y="4826000"/>
                <a:ext cx="82550" cy="2301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89" name="Rectangle 13"/>
              <p:cNvSpPr>
                <a:spLocks noChangeArrowheads="1"/>
              </p:cNvSpPr>
              <p:nvPr/>
            </p:nvSpPr>
            <p:spPr bwMode="auto">
              <a:xfrm>
                <a:off x="4522788" y="4826000"/>
                <a:ext cx="82550" cy="230188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90" name="Freeform 14"/>
              <p:cNvSpPr>
                <a:spLocks/>
              </p:cNvSpPr>
              <p:nvPr/>
            </p:nvSpPr>
            <p:spPr bwMode="auto">
              <a:xfrm>
                <a:off x="4219575" y="4668838"/>
                <a:ext cx="442913" cy="442913"/>
              </a:xfrm>
              <a:custGeom>
                <a:avLst/>
                <a:gdLst>
                  <a:gd name="T0" fmla="*/ 112 w 117"/>
                  <a:gd name="T1" fmla="*/ 0 h 118"/>
                  <a:gd name="T2" fmla="*/ 112 w 117"/>
                  <a:gd name="T3" fmla="*/ 0 h 118"/>
                  <a:gd name="T4" fmla="*/ 112 w 117"/>
                  <a:gd name="T5" fmla="*/ 0 h 118"/>
                  <a:gd name="T6" fmla="*/ 109 w 117"/>
                  <a:gd name="T7" fmla="*/ 1 h 118"/>
                  <a:gd name="T8" fmla="*/ 107 w 117"/>
                  <a:gd name="T9" fmla="*/ 5 h 118"/>
                  <a:gd name="T10" fmla="*/ 111 w 117"/>
                  <a:gd name="T11" fmla="*/ 9 h 118"/>
                  <a:gd name="T12" fmla="*/ 111 w 117"/>
                  <a:gd name="T13" fmla="*/ 112 h 118"/>
                  <a:gd name="T14" fmla="*/ 10 w 117"/>
                  <a:gd name="T15" fmla="*/ 112 h 118"/>
                  <a:gd name="T16" fmla="*/ 5 w 117"/>
                  <a:gd name="T17" fmla="*/ 108 h 118"/>
                  <a:gd name="T18" fmla="*/ 0 w 117"/>
                  <a:gd name="T19" fmla="*/ 113 h 118"/>
                  <a:gd name="T20" fmla="*/ 0 w 117"/>
                  <a:gd name="T21" fmla="*/ 113 h 118"/>
                  <a:gd name="T22" fmla="*/ 5 w 117"/>
                  <a:gd name="T23" fmla="*/ 118 h 118"/>
                  <a:gd name="T24" fmla="*/ 10 w 117"/>
                  <a:gd name="T25" fmla="*/ 114 h 118"/>
                  <a:gd name="T26" fmla="*/ 113 w 117"/>
                  <a:gd name="T27" fmla="*/ 114 h 118"/>
                  <a:gd name="T28" fmla="*/ 113 w 117"/>
                  <a:gd name="T29" fmla="*/ 9 h 118"/>
                  <a:gd name="T30" fmla="*/ 117 w 117"/>
                  <a:gd name="T31" fmla="*/ 5 h 118"/>
                  <a:gd name="T32" fmla="*/ 112 w 117"/>
                  <a:gd name="T33" fmla="*/ 0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7" h="118">
                    <a:moveTo>
                      <a:pt x="112" y="0"/>
                    </a:moveTo>
                    <a:cubicBezTo>
                      <a:pt x="112" y="0"/>
                      <a:pt x="112" y="0"/>
                      <a:pt x="112" y="0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11" y="0"/>
                      <a:pt x="110" y="0"/>
                      <a:pt x="109" y="1"/>
                    </a:cubicBezTo>
                    <a:cubicBezTo>
                      <a:pt x="108" y="2"/>
                      <a:pt x="107" y="3"/>
                      <a:pt x="107" y="5"/>
                    </a:cubicBezTo>
                    <a:cubicBezTo>
                      <a:pt x="107" y="7"/>
                      <a:pt x="109" y="9"/>
                      <a:pt x="111" y="9"/>
                    </a:cubicBezTo>
                    <a:cubicBezTo>
                      <a:pt x="111" y="112"/>
                      <a:pt x="111" y="112"/>
                      <a:pt x="111" y="112"/>
                    </a:cubicBezTo>
                    <a:cubicBezTo>
                      <a:pt x="10" y="112"/>
                      <a:pt x="10" y="112"/>
                      <a:pt x="10" y="112"/>
                    </a:cubicBezTo>
                    <a:cubicBezTo>
                      <a:pt x="9" y="110"/>
                      <a:pt x="7" y="108"/>
                      <a:pt x="5" y="108"/>
                    </a:cubicBezTo>
                    <a:cubicBezTo>
                      <a:pt x="3" y="108"/>
                      <a:pt x="0" y="110"/>
                      <a:pt x="0" y="113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" y="116"/>
                      <a:pt x="3" y="118"/>
                      <a:pt x="5" y="118"/>
                    </a:cubicBezTo>
                    <a:cubicBezTo>
                      <a:pt x="7" y="118"/>
                      <a:pt x="9" y="116"/>
                      <a:pt x="10" y="114"/>
                    </a:cubicBezTo>
                    <a:cubicBezTo>
                      <a:pt x="113" y="114"/>
                      <a:pt x="113" y="114"/>
                      <a:pt x="113" y="114"/>
                    </a:cubicBezTo>
                    <a:cubicBezTo>
                      <a:pt x="113" y="9"/>
                      <a:pt x="113" y="9"/>
                      <a:pt x="113" y="9"/>
                    </a:cubicBezTo>
                    <a:cubicBezTo>
                      <a:pt x="115" y="9"/>
                      <a:pt x="117" y="7"/>
                      <a:pt x="117" y="5"/>
                    </a:cubicBezTo>
                    <a:cubicBezTo>
                      <a:pt x="117" y="2"/>
                      <a:pt x="115" y="0"/>
                      <a:pt x="112" y="0"/>
                    </a:cubicBezTo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1E0DEC8-2F93-4F91-9099-F23EF76E91EA}"/>
              </a:ext>
            </a:extLst>
          </p:cNvPr>
          <p:cNvGrpSpPr/>
          <p:nvPr/>
        </p:nvGrpSpPr>
        <p:grpSpPr>
          <a:xfrm>
            <a:off x="7070791" y="1276350"/>
            <a:ext cx="488815" cy="488815"/>
            <a:chOff x="7070791" y="1276350"/>
            <a:chExt cx="488815" cy="488815"/>
          </a:xfrm>
        </p:grpSpPr>
        <p:sp>
          <p:nvSpPr>
            <p:cNvPr id="58" name="Oval 57"/>
            <p:cNvSpPr/>
            <p:nvPr/>
          </p:nvSpPr>
          <p:spPr>
            <a:xfrm>
              <a:off x="7070791" y="1276350"/>
              <a:ext cx="488815" cy="488815"/>
            </a:xfrm>
            <a:prstGeom prst="ellipse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68580" tIns="34290" rIns="68580" bIns="3429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grpSp>
          <p:nvGrpSpPr>
            <p:cNvPr id="91" name="组合 21"/>
            <p:cNvGrpSpPr/>
            <p:nvPr/>
          </p:nvGrpSpPr>
          <p:grpSpPr>
            <a:xfrm>
              <a:off x="7172960" y="1387159"/>
              <a:ext cx="267375" cy="267375"/>
              <a:chOff x="4254500" y="1266825"/>
              <a:chExt cx="619126" cy="411163"/>
            </a:xfrm>
            <a:solidFill>
              <a:schemeClr val="accent1"/>
            </a:solidFill>
          </p:grpSpPr>
          <p:sp>
            <p:nvSpPr>
              <p:cNvPr id="92" name="Freeform 11"/>
              <p:cNvSpPr>
                <a:spLocks noEditPoints="1"/>
              </p:cNvSpPr>
              <p:nvPr/>
            </p:nvSpPr>
            <p:spPr bwMode="auto">
              <a:xfrm>
                <a:off x="4254500" y="1276350"/>
                <a:ext cx="411163" cy="390525"/>
              </a:xfrm>
              <a:custGeom>
                <a:avLst/>
                <a:gdLst>
                  <a:gd name="T0" fmla="*/ 182 w 192"/>
                  <a:gd name="T1" fmla="*/ 0 h 182"/>
                  <a:gd name="T2" fmla="*/ 10 w 192"/>
                  <a:gd name="T3" fmla="*/ 0 h 182"/>
                  <a:gd name="T4" fmla="*/ 0 w 192"/>
                  <a:gd name="T5" fmla="*/ 10 h 182"/>
                  <a:gd name="T6" fmla="*/ 0 w 192"/>
                  <a:gd name="T7" fmla="*/ 128 h 182"/>
                  <a:gd name="T8" fmla="*/ 10 w 192"/>
                  <a:gd name="T9" fmla="*/ 138 h 182"/>
                  <a:gd name="T10" fmla="*/ 80 w 192"/>
                  <a:gd name="T11" fmla="*/ 138 h 182"/>
                  <a:gd name="T12" fmla="*/ 80 w 192"/>
                  <a:gd name="T13" fmla="*/ 170 h 182"/>
                  <a:gd name="T14" fmla="*/ 38 w 192"/>
                  <a:gd name="T15" fmla="*/ 170 h 182"/>
                  <a:gd name="T16" fmla="*/ 34 w 192"/>
                  <a:gd name="T17" fmla="*/ 176 h 182"/>
                  <a:gd name="T18" fmla="*/ 38 w 192"/>
                  <a:gd name="T19" fmla="*/ 182 h 182"/>
                  <a:gd name="T20" fmla="*/ 162 w 192"/>
                  <a:gd name="T21" fmla="*/ 182 h 182"/>
                  <a:gd name="T22" fmla="*/ 167 w 192"/>
                  <a:gd name="T23" fmla="*/ 176 h 182"/>
                  <a:gd name="T24" fmla="*/ 162 w 192"/>
                  <a:gd name="T25" fmla="*/ 170 h 182"/>
                  <a:gd name="T26" fmla="*/ 119 w 192"/>
                  <a:gd name="T27" fmla="*/ 170 h 182"/>
                  <a:gd name="T28" fmla="*/ 119 w 192"/>
                  <a:gd name="T29" fmla="*/ 138 h 182"/>
                  <a:gd name="T30" fmla="*/ 182 w 192"/>
                  <a:gd name="T31" fmla="*/ 138 h 182"/>
                  <a:gd name="T32" fmla="*/ 192 w 192"/>
                  <a:gd name="T33" fmla="*/ 128 h 182"/>
                  <a:gd name="T34" fmla="*/ 192 w 192"/>
                  <a:gd name="T35" fmla="*/ 10 h 182"/>
                  <a:gd name="T36" fmla="*/ 182 w 192"/>
                  <a:gd name="T37" fmla="*/ 0 h 182"/>
                  <a:gd name="T38" fmla="*/ 183 w 192"/>
                  <a:gd name="T39" fmla="*/ 130 h 182"/>
                  <a:gd name="T40" fmla="*/ 10 w 192"/>
                  <a:gd name="T41" fmla="*/ 130 h 182"/>
                  <a:gd name="T42" fmla="*/ 10 w 192"/>
                  <a:gd name="T43" fmla="*/ 6 h 182"/>
                  <a:gd name="T44" fmla="*/ 183 w 192"/>
                  <a:gd name="T45" fmla="*/ 6 h 182"/>
                  <a:gd name="T46" fmla="*/ 183 w 192"/>
                  <a:gd name="T47" fmla="*/ 13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92" h="182">
                    <a:moveTo>
                      <a:pt x="182" y="0"/>
                    </a:move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4"/>
                      <a:pt x="0" y="10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0" y="133"/>
                      <a:pt x="4" y="138"/>
                      <a:pt x="10" y="138"/>
                    </a:cubicBezTo>
                    <a:cubicBezTo>
                      <a:pt x="80" y="138"/>
                      <a:pt x="80" y="138"/>
                      <a:pt x="80" y="138"/>
                    </a:cubicBezTo>
                    <a:cubicBezTo>
                      <a:pt x="80" y="170"/>
                      <a:pt x="80" y="170"/>
                      <a:pt x="80" y="170"/>
                    </a:cubicBezTo>
                    <a:cubicBezTo>
                      <a:pt x="38" y="170"/>
                      <a:pt x="38" y="170"/>
                      <a:pt x="38" y="170"/>
                    </a:cubicBezTo>
                    <a:cubicBezTo>
                      <a:pt x="36" y="170"/>
                      <a:pt x="34" y="173"/>
                      <a:pt x="34" y="176"/>
                    </a:cubicBezTo>
                    <a:cubicBezTo>
                      <a:pt x="34" y="179"/>
                      <a:pt x="36" y="182"/>
                      <a:pt x="38" y="182"/>
                    </a:cubicBezTo>
                    <a:cubicBezTo>
                      <a:pt x="162" y="182"/>
                      <a:pt x="162" y="182"/>
                      <a:pt x="162" y="182"/>
                    </a:cubicBezTo>
                    <a:cubicBezTo>
                      <a:pt x="165" y="182"/>
                      <a:pt x="167" y="179"/>
                      <a:pt x="167" y="176"/>
                    </a:cubicBezTo>
                    <a:cubicBezTo>
                      <a:pt x="167" y="173"/>
                      <a:pt x="165" y="170"/>
                      <a:pt x="162" y="170"/>
                    </a:cubicBezTo>
                    <a:cubicBezTo>
                      <a:pt x="119" y="170"/>
                      <a:pt x="119" y="170"/>
                      <a:pt x="119" y="170"/>
                    </a:cubicBezTo>
                    <a:cubicBezTo>
                      <a:pt x="119" y="138"/>
                      <a:pt x="119" y="138"/>
                      <a:pt x="119" y="138"/>
                    </a:cubicBezTo>
                    <a:cubicBezTo>
                      <a:pt x="182" y="138"/>
                      <a:pt x="182" y="138"/>
                      <a:pt x="182" y="138"/>
                    </a:cubicBezTo>
                    <a:cubicBezTo>
                      <a:pt x="187" y="138"/>
                      <a:pt x="192" y="133"/>
                      <a:pt x="192" y="128"/>
                    </a:cubicBezTo>
                    <a:cubicBezTo>
                      <a:pt x="192" y="10"/>
                      <a:pt x="192" y="10"/>
                      <a:pt x="192" y="10"/>
                    </a:cubicBezTo>
                    <a:cubicBezTo>
                      <a:pt x="192" y="4"/>
                      <a:pt x="187" y="0"/>
                      <a:pt x="182" y="0"/>
                    </a:cubicBezTo>
                    <a:close/>
                    <a:moveTo>
                      <a:pt x="183" y="130"/>
                    </a:moveTo>
                    <a:cubicBezTo>
                      <a:pt x="10" y="130"/>
                      <a:pt x="10" y="130"/>
                      <a:pt x="10" y="130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83" y="6"/>
                      <a:pt x="183" y="6"/>
                      <a:pt x="183" y="6"/>
                    </a:cubicBezTo>
                    <a:lnTo>
                      <a:pt x="183" y="1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  <p:sp>
            <p:nvSpPr>
              <p:cNvPr id="93" name="Freeform 12"/>
              <p:cNvSpPr>
                <a:spLocks noEditPoints="1"/>
              </p:cNvSpPr>
              <p:nvPr/>
            </p:nvSpPr>
            <p:spPr bwMode="auto">
              <a:xfrm>
                <a:off x="4681538" y="1266825"/>
                <a:ext cx="192088" cy="411163"/>
              </a:xfrm>
              <a:custGeom>
                <a:avLst/>
                <a:gdLst>
                  <a:gd name="T0" fmla="*/ 74 w 90"/>
                  <a:gd name="T1" fmla="*/ 0 h 192"/>
                  <a:gd name="T2" fmla="*/ 16 w 90"/>
                  <a:gd name="T3" fmla="*/ 0 h 192"/>
                  <a:gd name="T4" fmla="*/ 0 w 90"/>
                  <a:gd name="T5" fmla="*/ 9 h 192"/>
                  <a:gd name="T6" fmla="*/ 0 w 90"/>
                  <a:gd name="T7" fmla="*/ 182 h 192"/>
                  <a:gd name="T8" fmla="*/ 16 w 90"/>
                  <a:gd name="T9" fmla="*/ 192 h 192"/>
                  <a:gd name="T10" fmla="*/ 74 w 90"/>
                  <a:gd name="T11" fmla="*/ 192 h 192"/>
                  <a:gd name="T12" fmla="*/ 90 w 90"/>
                  <a:gd name="T13" fmla="*/ 182 h 192"/>
                  <a:gd name="T14" fmla="*/ 90 w 90"/>
                  <a:gd name="T15" fmla="*/ 9 h 192"/>
                  <a:gd name="T16" fmla="*/ 74 w 90"/>
                  <a:gd name="T17" fmla="*/ 0 h 192"/>
                  <a:gd name="T18" fmla="*/ 45 w 90"/>
                  <a:gd name="T19" fmla="*/ 160 h 192"/>
                  <a:gd name="T20" fmla="*/ 32 w 90"/>
                  <a:gd name="T21" fmla="*/ 148 h 192"/>
                  <a:gd name="T22" fmla="*/ 45 w 90"/>
                  <a:gd name="T23" fmla="*/ 135 h 192"/>
                  <a:gd name="T24" fmla="*/ 57 w 90"/>
                  <a:gd name="T25" fmla="*/ 148 h 192"/>
                  <a:gd name="T26" fmla="*/ 45 w 90"/>
                  <a:gd name="T27" fmla="*/ 16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0" h="192">
                    <a:moveTo>
                      <a:pt x="74" y="0"/>
                    </a:moveTo>
                    <a:cubicBezTo>
                      <a:pt x="16" y="0"/>
                      <a:pt x="16" y="0"/>
                      <a:pt x="16" y="0"/>
                    </a:cubicBezTo>
                    <a:cubicBezTo>
                      <a:pt x="7" y="0"/>
                      <a:pt x="0" y="4"/>
                      <a:pt x="0" y="9"/>
                    </a:cubicBezTo>
                    <a:cubicBezTo>
                      <a:pt x="0" y="182"/>
                      <a:pt x="0" y="182"/>
                      <a:pt x="0" y="182"/>
                    </a:cubicBezTo>
                    <a:cubicBezTo>
                      <a:pt x="0" y="188"/>
                      <a:pt x="7" y="192"/>
                      <a:pt x="16" y="192"/>
                    </a:cubicBezTo>
                    <a:cubicBezTo>
                      <a:pt x="74" y="192"/>
                      <a:pt x="74" y="192"/>
                      <a:pt x="74" y="192"/>
                    </a:cubicBezTo>
                    <a:cubicBezTo>
                      <a:pt x="83" y="192"/>
                      <a:pt x="90" y="188"/>
                      <a:pt x="90" y="182"/>
                    </a:cubicBezTo>
                    <a:cubicBezTo>
                      <a:pt x="90" y="9"/>
                      <a:pt x="90" y="9"/>
                      <a:pt x="90" y="9"/>
                    </a:cubicBezTo>
                    <a:cubicBezTo>
                      <a:pt x="90" y="4"/>
                      <a:pt x="83" y="0"/>
                      <a:pt x="74" y="0"/>
                    </a:cubicBezTo>
                    <a:close/>
                    <a:moveTo>
                      <a:pt x="45" y="160"/>
                    </a:moveTo>
                    <a:cubicBezTo>
                      <a:pt x="38" y="160"/>
                      <a:pt x="32" y="155"/>
                      <a:pt x="32" y="148"/>
                    </a:cubicBezTo>
                    <a:cubicBezTo>
                      <a:pt x="32" y="141"/>
                      <a:pt x="38" y="135"/>
                      <a:pt x="45" y="135"/>
                    </a:cubicBezTo>
                    <a:cubicBezTo>
                      <a:pt x="52" y="135"/>
                      <a:pt x="57" y="141"/>
                      <a:pt x="57" y="148"/>
                    </a:cubicBezTo>
                    <a:cubicBezTo>
                      <a:pt x="57" y="155"/>
                      <a:pt x="52" y="160"/>
                      <a:pt x="45" y="1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zh-CN" alt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entury Gothic"/>
                  <a:ea typeface="宋体" panose="02010600030101010101" pitchFamily="2" charset="-122"/>
                  <a:cs typeface="Century Gothic"/>
                </a:endParaRPr>
              </a:p>
            </p:txBody>
          </p:sp>
        </p:grpSp>
      </p:grpSp>
      <p:sp>
        <p:nvSpPr>
          <p:cNvPr id="12" name="TextBox 11"/>
          <p:cNvSpPr txBox="1"/>
          <p:nvPr/>
        </p:nvSpPr>
        <p:spPr>
          <a:xfrm>
            <a:off x="609600" y="3423920"/>
            <a:ext cx="24587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30D1F81-75BA-4697-90AC-C472FB2B47C1}"/>
              </a:ext>
            </a:extLst>
          </p:cNvPr>
          <p:cNvGrpSpPr/>
          <p:nvPr/>
        </p:nvGrpSpPr>
        <p:grpSpPr>
          <a:xfrm>
            <a:off x="3261360" y="3105150"/>
            <a:ext cx="2621280" cy="830997"/>
            <a:chOff x="3261360" y="3105150"/>
            <a:chExt cx="2621280" cy="830997"/>
          </a:xfrm>
        </p:grpSpPr>
        <p:sp>
          <p:nvSpPr>
            <p:cNvPr id="51" name="TextBox 50"/>
            <p:cNvSpPr txBox="1"/>
            <p:nvPr/>
          </p:nvSpPr>
          <p:spPr>
            <a:xfrm>
              <a:off x="3314700" y="3105150"/>
              <a:ext cx="251460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NLU students get discount for the</a:t>
              </a:r>
              <a:r>
                <a:rPr kumimoji="0" lang="lt-LT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 </a:t>
              </a:r>
              <a:r>
                <a:rPr kumimoji="0" lang="en-US" sz="1600" b="1" i="0" u="none" strike="noStrike" kern="1200" cap="none" spc="0" normalizeH="0" baseline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tuition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 fee (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30%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504D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)</a:t>
              </a:r>
            </a:p>
          </p:txBody>
        </p:sp>
        <p:sp>
          <p:nvSpPr>
            <p:cNvPr id="94" name="TextBox 93"/>
            <p:cNvSpPr txBox="1"/>
            <p:nvPr/>
          </p:nvSpPr>
          <p:spPr>
            <a:xfrm>
              <a:off x="3261360" y="3423920"/>
              <a:ext cx="26212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9C9F8ED-D373-41D1-B9AB-6C54FE57FEA1}"/>
              </a:ext>
            </a:extLst>
          </p:cNvPr>
          <p:cNvGrpSpPr/>
          <p:nvPr/>
        </p:nvGrpSpPr>
        <p:grpSpPr>
          <a:xfrm>
            <a:off x="5411589" y="3070734"/>
            <a:ext cx="3515248" cy="1389503"/>
            <a:chOff x="5411589" y="3070734"/>
            <a:chExt cx="3515248" cy="1389503"/>
          </a:xfrm>
        </p:grpSpPr>
        <p:sp>
          <p:nvSpPr>
            <p:cNvPr id="56" name="TextBox 55"/>
            <p:cNvSpPr txBox="1"/>
            <p:nvPr/>
          </p:nvSpPr>
          <p:spPr>
            <a:xfrm>
              <a:off x="5935980" y="3070734"/>
              <a:ext cx="2990857" cy="10464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Price: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2023/2024 – 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3005.8 </a:t>
              </a:r>
              <a:r>
                <a:rPr kumimoji="0" lang="en-US" sz="16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Eur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/year 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(regular - 4294 </a:t>
              </a:r>
              <a:r>
                <a:rPr kumimoji="0" lang="en-US" sz="1400" i="0" u="none" strike="noStrike" kern="1200" cap="none" spc="0" normalizeH="0" baseline="0" noProof="0" dirty="0" err="1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Eur</a:t>
              </a: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entury Gothic"/>
                  <a:ea typeface="+mn-ea"/>
                  <a:cs typeface="Century Gothic"/>
                </a:rPr>
                <a:t>/year)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b="1" dirty="0">
                  <a:solidFill>
                    <a:srgbClr val="7030A0"/>
                  </a:solidFill>
                  <a:latin typeface="Century Gothic"/>
                  <a:cs typeface="Century Gothic"/>
                </a:rPr>
                <a:t>USMB - ~350 </a:t>
              </a:r>
              <a:r>
                <a:rPr lang="en-US" sz="1600" b="1" dirty="0" err="1">
                  <a:solidFill>
                    <a:srgbClr val="7030A0"/>
                  </a:solidFill>
                  <a:latin typeface="Century Gothic"/>
                  <a:cs typeface="Century Gothic"/>
                </a:rPr>
                <a:t>Eur</a:t>
              </a:r>
              <a:r>
                <a:rPr lang="en-US" sz="1600" b="1" dirty="0">
                  <a:solidFill>
                    <a:srgbClr val="7030A0"/>
                  </a:solidFill>
                  <a:latin typeface="Century Gothic"/>
                  <a:cs typeface="Century Gothic"/>
                </a:rPr>
                <a:t>/year</a:t>
              </a:r>
              <a:endParaRPr kumimoji="0" lang="en-US" sz="1600" b="1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5411589" y="4214016"/>
              <a:ext cx="308864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914400" marR="0" lvl="2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542813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25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5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25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5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25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25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7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250"/>
                            </p:stCondLst>
                            <p:childTnLst>
                              <p:par>
                                <p:cTn id="4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25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3500"/>
                            </p:stCondLst>
                            <p:childTnLst>
                              <p:par>
                                <p:cTn id="5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2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750"/>
                            </p:stCondLst>
                            <p:childTnLst>
                              <p:par>
                                <p:cTn id="6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67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ircle: Hollow 17">
            <a:extLst>
              <a:ext uri="{FF2B5EF4-FFF2-40B4-BE49-F238E27FC236}">
                <a16:creationId xmlns:a16="http://schemas.microsoft.com/office/drawing/2014/main" id="{F4ACE548-E550-F144-A7F3-315A84FB305B}"/>
              </a:ext>
            </a:extLst>
          </p:cNvPr>
          <p:cNvSpPr/>
          <p:nvPr/>
        </p:nvSpPr>
        <p:spPr>
          <a:xfrm>
            <a:off x="3551278" y="1654487"/>
            <a:ext cx="2014883" cy="2014881"/>
          </a:xfrm>
          <a:prstGeom prst="donut">
            <a:avLst>
              <a:gd name="adj" fmla="val 1519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ircle: Hollow 11">
            <a:extLst>
              <a:ext uri="{FF2B5EF4-FFF2-40B4-BE49-F238E27FC236}">
                <a16:creationId xmlns:a16="http://schemas.microsoft.com/office/drawing/2014/main" id="{ACAC5D47-6712-694E-AFB3-CB85F03FC1CA}"/>
              </a:ext>
            </a:extLst>
          </p:cNvPr>
          <p:cNvSpPr/>
          <p:nvPr/>
        </p:nvSpPr>
        <p:spPr>
          <a:xfrm>
            <a:off x="3126270" y="1158956"/>
            <a:ext cx="2864897" cy="2864894"/>
          </a:xfrm>
          <a:prstGeom prst="donut">
            <a:avLst>
              <a:gd name="adj" fmla="val 119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5CA2A86-B58D-4E47-BDE5-57F846B76B76}"/>
              </a:ext>
            </a:extLst>
          </p:cNvPr>
          <p:cNvGrpSpPr/>
          <p:nvPr/>
        </p:nvGrpSpPr>
        <p:grpSpPr>
          <a:xfrm>
            <a:off x="3170542" y="1203227"/>
            <a:ext cx="2926877" cy="2864894"/>
            <a:chOff x="4227390" y="1604303"/>
            <a:chExt cx="3902502" cy="3819858"/>
          </a:xfrm>
        </p:grpSpPr>
        <p:sp>
          <p:nvSpPr>
            <p:cNvPr id="8" name="Circle: Hollow 18">
              <a:extLst>
                <a:ext uri="{FF2B5EF4-FFF2-40B4-BE49-F238E27FC236}">
                  <a16:creationId xmlns:a16="http://schemas.microsoft.com/office/drawing/2014/main" id="{12EC9C70-45C5-2A48-A6DC-CEB6F71D49CB}"/>
                </a:ext>
              </a:extLst>
            </p:cNvPr>
            <p:cNvSpPr/>
            <p:nvPr/>
          </p:nvSpPr>
          <p:spPr>
            <a:xfrm>
              <a:off x="4643820" y="2058965"/>
              <a:ext cx="2868943" cy="2868941"/>
            </a:xfrm>
            <a:prstGeom prst="donut">
              <a:avLst>
                <a:gd name="adj" fmla="val 151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Circle: Hollow 8">
              <a:extLst>
                <a:ext uri="{FF2B5EF4-FFF2-40B4-BE49-F238E27FC236}">
                  <a16:creationId xmlns:a16="http://schemas.microsoft.com/office/drawing/2014/main" id="{5D4FADE6-9B45-3F42-90EF-06DF589892FA}"/>
                </a:ext>
              </a:extLst>
            </p:cNvPr>
            <p:cNvSpPr/>
            <p:nvPr/>
          </p:nvSpPr>
          <p:spPr>
            <a:xfrm>
              <a:off x="4498922" y="1910837"/>
              <a:ext cx="3158740" cy="3158736"/>
            </a:xfrm>
            <a:prstGeom prst="donut">
              <a:avLst>
                <a:gd name="adj" fmla="val 1519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Circle: Hollow 9">
              <a:extLst>
                <a:ext uri="{FF2B5EF4-FFF2-40B4-BE49-F238E27FC236}">
                  <a16:creationId xmlns:a16="http://schemas.microsoft.com/office/drawing/2014/main" id="{CD79C722-4648-3847-89A7-5130300989B8}"/>
                </a:ext>
              </a:extLst>
            </p:cNvPr>
            <p:cNvSpPr/>
            <p:nvPr/>
          </p:nvSpPr>
          <p:spPr>
            <a:xfrm>
              <a:off x="4227390" y="1639306"/>
              <a:ext cx="3701802" cy="3701798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Circle: Hollow 12">
              <a:extLst>
                <a:ext uri="{FF2B5EF4-FFF2-40B4-BE49-F238E27FC236}">
                  <a16:creationId xmlns:a16="http://schemas.microsoft.com/office/drawing/2014/main" id="{5E775754-C37B-3349-B884-7226DF18ABFC}"/>
                </a:ext>
              </a:extLst>
            </p:cNvPr>
            <p:cNvSpPr/>
            <p:nvPr/>
          </p:nvSpPr>
          <p:spPr>
            <a:xfrm>
              <a:off x="4310030" y="1604303"/>
              <a:ext cx="3819862" cy="3819858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A2B7CCB-0031-6B45-9181-C496348F283D}"/>
              </a:ext>
            </a:extLst>
          </p:cNvPr>
          <p:cNvGrpSpPr/>
          <p:nvPr/>
        </p:nvGrpSpPr>
        <p:grpSpPr>
          <a:xfrm>
            <a:off x="2851787" y="911035"/>
            <a:ext cx="3440427" cy="3360425"/>
            <a:chOff x="3802382" y="1214714"/>
            <a:chExt cx="4587236" cy="4480566"/>
          </a:xfrm>
        </p:grpSpPr>
        <p:sp>
          <p:nvSpPr>
            <p:cNvPr id="11" name="Circle: Hollow 10">
              <a:extLst>
                <a:ext uri="{FF2B5EF4-FFF2-40B4-BE49-F238E27FC236}">
                  <a16:creationId xmlns:a16="http://schemas.microsoft.com/office/drawing/2014/main" id="{0F92B70A-D752-7D46-9DDE-A28BC01C8B8F}"/>
                </a:ext>
              </a:extLst>
            </p:cNvPr>
            <p:cNvSpPr/>
            <p:nvPr/>
          </p:nvSpPr>
          <p:spPr>
            <a:xfrm>
              <a:off x="3849604" y="1237911"/>
              <a:ext cx="4457373" cy="4457369"/>
            </a:xfrm>
            <a:prstGeom prst="donut">
              <a:avLst>
                <a:gd name="adj" fmla="val 983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Circle: Hollow 13">
              <a:extLst>
                <a:ext uri="{FF2B5EF4-FFF2-40B4-BE49-F238E27FC236}">
                  <a16:creationId xmlns:a16="http://schemas.microsoft.com/office/drawing/2014/main" id="{CC9BC95A-7879-A74E-8FAA-D53A1508ABEB}"/>
                </a:ext>
              </a:extLst>
            </p:cNvPr>
            <p:cNvSpPr/>
            <p:nvPr/>
          </p:nvSpPr>
          <p:spPr>
            <a:xfrm>
              <a:off x="3802382" y="1214714"/>
              <a:ext cx="4185840" cy="4185836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Circle: Hollow 14">
              <a:extLst>
                <a:ext uri="{FF2B5EF4-FFF2-40B4-BE49-F238E27FC236}">
                  <a16:creationId xmlns:a16="http://schemas.microsoft.com/office/drawing/2014/main" id="{10CCA3B1-8325-2640-9DE4-C2A88506CB2E}"/>
                </a:ext>
              </a:extLst>
            </p:cNvPr>
            <p:cNvSpPr/>
            <p:nvPr/>
          </p:nvSpPr>
          <p:spPr>
            <a:xfrm>
              <a:off x="4203778" y="1226519"/>
              <a:ext cx="4185840" cy="4185836"/>
            </a:xfrm>
            <a:prstGeom prst="donut">
              <a:avLst>
                <a:gd name="adj" fmla="val 1199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Circle: Hollow 15">
              <a:extLst>
                <a:ext uri="{FF2B5EF4-FFF2-40B4-BE49-F238E27FC236}">
                  <a16:creationId xmlns:a16="http://schemas.microsoft.com/office/drawing/2014/main" id="{F77295B9-37FB-8942-BB3F-ECD559476449}"/>
                </a:ext>
              </a:extLst>
            </p:cNvPr>
            <p:cNvSpPr/>
            <p:nvPr/>
          </p:nvSpPr>
          <p:spPr>
            <a:xfrm>
              <a:off x="4168361" y="1427216"/>
              <a:ext cx="4185840" cy="4185836"/>
            </a:xfrm>
            <a:prstGeom prst="donut">
              <a:avLst>
                <a:gd name="adj" fmla="val 1199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id="{9BD3F400-08B4-5845-91A0-86AF1613C72A}"/>
              </a:ext>
            </a:extLst>
          </p:cNvPr>
          <p:cNvSpPr/>
          <p:nvPr/>
        </p:nvSpPr>
        <p:spPr>
          <a:xfrm>
            <a:off x="2918373" y="4337326"/>
            <a:ext cx="3307254" cy="474194"/>
          </a:xfrm>
          <a:prstGeom prst="ellipse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  <a:alpha val="34000"/>
                </a:schemeClr>
              </a:gs>
              <a:gs pos="100000">
                <a:sysClr val="window" lastClr="FFFFFF">
                  <a:alpha val="0"/>
                  <a:lumMod val="100000"/>
                </a:sysClr>
              </a:gs>
            </a:gsLst>
            <a:path path="shape">
              <a:fillToRect l="50000" t="50000" r="50000" b="50000"/>
            </a:path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AE5D4F8-7D39-E443-9DD6-4761391B27F2}"/>
              </a:ext>
            </a:extLst>
          </p:cNvPr>
          <p:cNvGrpSpPr/>
          <p:nvPr/>
        </p:nvGrpSpPr>
        <p:grpSpPr>
          <a:xfrm>
            <a:off x="3448449" y="1506308"/>
            <a:ext cx="2207056" cy="2207056"/>
            <a:chOff x="4597932" y="2008410"/>
            <a:chExt cx="2942741" cy="2942741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EA021F1-2F79-1246-B48B-34EF1C7739B6}"/>
                </a:ext>
              </a:extLst>
            </p:cNvPr>
            <p:cNvGrpSpPr/>
            <p:nvPr/>
          </p:nvGrpSpPr>
          <p:grpSpPr>
            <a:xfrm>
              <a:off x="4735037" y="2118160"/>
              <a:ext cx="2706446" cy="2706446"/>
              <a:chOff x="4735037" y="2118160"/>
              <a:chExt cx="2706446" cy="2706446"/>
            </a:xfrm>
          </p:grpSpPr>
          <p:sp>
            <p:nvSpPr>
              <p:cNvPr id="5" name="Circle: Hollow 2">
                <a:extLst>
                  <a:ext uri="{FF2B5EF4-FFF2-40B4-BE49-F238E27FC236}">
                    <a16:creationId xmlns:a16="http://schemas.microsoft.com/office/drawing/2014/main" id="{213C4254-F90F-AF4C-84DA-7EC232C98C7F}"/>
                  </a:ext>
                </a:extLst>
              </p:cNvPr>
              <p:cNvSpPr/>
              <p:nvPr/>
            </p:nvSpPr>
            <p:spPr>
              <a:xfrm>
                <a:off x="4797367" y="2209281"/>
                <a:ext cx="2561849" cy="2561849"/>
              </a:xfrm>
              <a:prstGeom prst="donut">
                <a:avLst>
                  <a:gd name="adj" fmla="val 1519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" name="Circle: Hollow 16">
                <a:extLst>
                  <a:ext uri="{FF2B5EF4-FFF2-40B4-BE49-F238E27FC236}">
                    <a16:creationId xmlns:a16="http://schemas.microsoft.com/office/drawing/2014/main" id="{625502A0-19CC-F141-B9E9-6880577C6E6D}"/>
                  </a:ext>
                </a:extLst>
              </p:cNvPr>
              <p:cNvSpPr/>
              <p:nvPr/>
            </p:nvSpPr>
            <p:spPr>
              <a:xfrm>
                <a:off x="4735037" y="2123342"/>
                <a:ext cx="2686510" cy="2686508"/>
              </a:xfrm>
              <a:prstGeom prst="donut">
                <a:avLst>
                  <a:gd name="adj" fmla="val 1519"/>
                </a:avLst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Block Arc 17">
                <a:extLst>
                  <a:ext uri="{FF2B5EF4-FFF2-40B4-BE49-F238E27FC236}">
                    <a16:creationId xmlns:a16="http://schemas.microsoft.com/office/drawing/2014/main" id="{6BD69294-0282-844F-BF5B-95CEE42D19AB}"/>
                  </a:ext>
                </a:extLst>
              </p:cNvPr>
              <p:cNvSpPr/>
              <p:nvPr/>
            </p:nvSpPr>
            <p:spPr>
              <a:xfrm>
                <a:off x="4735037" y="2118160"/>
                <a:ext cx="2706446" cy="2706446"/>
              </a:xfrm>
              <a:prstGeom prst="blockArc">
                <a:avLst>
                  <a:gd name="adj1" fmla="val 10800000"/>
                  <a:gd name="adj2" fmla="val 15161400"/>
                  <a:gd name="adj3" fmla="val 2328"/>
                </a:avLst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IN" sz="135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9" name="Block Arc 18">
              <a:extLst>
                <a:ext uri="{FF2B5EF4-FFF2-40B4-BE49-F238E27FC236}">
                  <a16:creationId xmlns:a16="http://schemas.microsoft.com/office/drawing/2014/main" id="{B946E6FC-97CB-2342-89E9-9718E2BFA2C2}"/>
                </a:ext>
              </a:extLst>
            </p:cNvPr>
            <p:cNvSpPr/>
            <p:nvPr/>
          </p:nvSpPr>
          <p:spPr>
            <a:xfrm rot="9057702">
              <a:off x="4597932" y="2008410"/>
              <a:ext cx="2942741" cy="2942741"/>
            </a:xfrm>
            <a:prstGeom prst="blockArc">
              <a:avLst>
                <a:gd name="adj1" fmla="val 15189336"/>
                <a:gd name="adj2" fmla="val 20281184"/>
                <a:gd name="adj3" fmla="val 2373"/>
              </a:avLst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35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Block Arc 27">
            <a:extLst>
              <a:ext uri="{FF2B5EF4-FFF2-40B4-BE49-F238E27FC236}">
                <a16:creationId xmlns:a16="http://schemas.microsoft.com/office/drawing/2014/main" id="{B1B7AE39-B151-5349-8C9C-BE409AE1BB2F}"/>
              </a:ext>
            </a:extLst>
          </p:cNvPr>
          <p:cNvSpPr/>
          <p:nvPr/>
        </p:nvSpPr>
        <p:spPr>
          <a:xfrm rot="4769389">
            <a:off x="3143029" y="1130334"/>
            <a:ext cx="2800140" cy="2800140"/>
          </a:xfrm>
          <a:prstGeom prst="blockArc">
            <a:avLst>
              <a:gd name="adj1" fmla="val 8317139"/>
              <a:gd name="adj2" fmla="val 10918983"/>
              <a:gd name="adj3" fmla="val 217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9" name="Elbow Connector 28">
            <a:extLst>
              <a:ext uri="{FF2B5EF4-FFF2-40B4-BE49-F238E27FC236}">
                <a16:creationId xmlns:a16="http://schemas.microsoft.com/office/drawing/2014/main" id="{7AAB4317-3B94-1945-A214-85EF60E9BE20}"/>
              </a:ext>
            </a:extLst>
          </p:cNvPr>
          <p:cNvCxnSpPr>
            <a:cxnSpLocks/>
          </p:cNvCxnSpPr>
          <p:nvPr/>
        </p:nvCxnSpPr>
        <p:spPr>
          <a:xfrm rot="10800000">
            <a:off x="1018099" y="1318232"/>
            <a:ext cx="2448041" cy="322809"/>
          </a:xfrm>
          <a:prstGeom prst="bentConnector3">
            <a:avLst>
              <a:gd name="adj1" fmla="val 29502"/>
            </a:avLst>
          </a:prstGeom>
          <a:ln w="254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C56E8EB7-5F29-0041-940B-DD5889BBC824}"/>
              </a:ext>
            </a:extLst>
          </p:cNvPr>
          <p:cNvSpPr txBox="1"/>
          <p:nvPr/>
        </p:nvSpPr>
        <p:spPr>
          <a:xfrm>
            <a:off x="858070" y="1433128"/>
            <a:ext cx="1742859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or studies and internships</a:t>
            </a:r>
          </a:p>
        </p:txBody>
      </p:sp>
      <p:sp>
        <p:nvSpPr>
          <p:cNvPr id="32" name="Block Arc 31">
            <a:extLst>
              <a:ext uri="{FF2B5EF4-FFF2-40B4-BE49-F238E27FC236}">
                <a16:creationId xmlns:a16="http://schemas.microsoft.com/office/drawing/2014/main" id="{EBB31319-F580-4C44-AA8E-D60BFD951C54}"/>
              </a:ext>
            </a:extLst>
          </p:cNvPr>
          <p:cNvSpPr/>
          <p:nvPr/>
        </p:nvSpPr>
        <p:spPr>
          <a:xfrm rot="8971365">
            <a:off x="3171930" y="1209764"/>
            <a:ext cx="2800140" cy="2800140"/>
          </a:xfrm>
          <a:prstGeom prst="blockArc">
            <a:avLst>
              <a:gd name="adj1" fmla="val 8344118"/>
              <a:gd name="adj2" fmla="val 11482960"/>
              <a:gd name="adj3" fmla="val 218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3" name="Elbow Connector 32">
            <a:extLst>
              <a:ext uri="{FF2B5EF4-FFF2-40B4-BE49-F238E27FC236}">
                <a16:creationId xmlns:a16="http://schemas.microsoft.com/office/drawing/2014/main" id="{8937AA1A-1CCE-1748-A41A-5BA770FF8D3D}"/>
              </a:ext>
            </a:extLst>
          </p:cNvPr>
          <p:cNvCxnSpPr>
            <a:cxnSpLocks/>
          </p:cNvCxnSpPr>
          <p:nvPr/>
        </p:nvCxnSpPr>
        <p:spPr>
          <a:xfrm rot="10800000" flipV="1">
            <a:off x="4999837" y="965299"/>
            <a:ext cx="3304269" cy="307915"/>
          </a:xfrm>
          <a:prstGeom prst="bentConnector3">
            <a:avLst>
              <a:gd name="adj1" fmla="val 58606"/>
            </a:avLst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78662B3A-F3F2-FC4D-90CD-E9298F704467}"/>
              </a:ext>
            </a:extLst>
          </p:cNvPr>
          <p:cNvSpPr txBox="1"/>
          <p:nvPr/>
        </p:nvSpPr>
        <p:spPr>
          <a:xfrm>
            <a:off x="6461384" y="1030006"/>
            <a:ext cx="174151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cholarship 540-750 </a:t>
            </a:r>
            <a:r>
              <a:rPr kumimoji="0" lang="en-US" sz="1800" b="1" i="0" u="none" strike="noStrike" kern="1200" cap="none" spc="0" normalizeH="0" baseline="0" dirty="0" err="1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Eur</a:t>
            </a:r>
            <a:endParaRPr kumimoji="0" lang="en-US" sz="1800" b="1" i="0" u="none" strike="noStrike" kern="1200" cap="none" spc="0" normalizeH="0" baseline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6" name="Block Arc 35">
            <a:extLst>
              <a:ext uri="{FF2B5EF4-FFF2-40B4-BE49-F238E27FC236}">
                <a16:creationId xmlns:a16="http://schemas.microsoft.com/office/drawing/2014/main" id="{28014F7B-B65F-2542-A4AF-D8DD7D71E0A3}"/>
              </a:ext>
            </a:extLst>
          </p:cNvPr>
          <p:cNvSpPr/>
          <p:nvPr/>
        </p:nvSpPr>
        <p:spPr>
          <a:xfrm rot="20977164">
            <a:off x="3193606" y="1199876"/>
            <a:ext cx="2800140" cy="2800140"/>
          </a:xfrm>
          <a:prstGeom prst="blockArc">
            <a:avLst>
              <a:gd name="adj1" fmla="val 8344118"/>
              <a:gd name="adj2" fmla="val 12196203"/>
              <a:gd name="adj3" fmla="val 179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7" name="Elbow Connector 36">
            <a:extLst>
              <a:ext uri="{FF2B5EF4-FFF2-40B4-BE49-F238E27FC236}">
                <a16:creationId xmlns:a16="http://schemas.microsoft.com/office/drawing/2014/main" id="{E5F4C4A1-897F-6B4A-B0A6-85E5AB838F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10479" y="3661817"/>
            <a:ext cx="2704055" cy="345729"/>
          </a:xfrm>
          <a:prstGeom prst="bentConnector3">
            <a:avLst>
              <a:gd name="adj1" fmla="val 26494"/>
            </a:avLst>
          </a:pr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79A17977-2328-FA4A-997E-DE287E55A6A8}"/>
              </a:ext>
            </a:extLst>
          </p:cNvPr>
          <p:cNvSpPr txBox="1"/>
          <p:nvPr/>
        </p:nvSpPr>
        <p:spPr>
          <a:xfrm>
            <a:off x="1224096" y="3094686"/>
            <a:ext cx="128498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79646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 total 12 months activities</a:t>
            </a:r>
          </a:p>
        </p:txBody>
      </p:sp>
      <p:sp>
        <p:nvSpPr>
          <p:cNvPr id="40" name="Block Arc 39">
            <a:extLst>
              <a:ext uri="{FF2B5EF4-FFF2-40B4-BE49-F238E27FC236}">
                <a16:creationId xmlns:a16="http://schemas.microsoft.com/office/drawing/2014/main" id="{32D18B9A-57C9-CD42-BFDC-0CF25C0DAD42}"/>
              </a:ext>
            </a:extLst>
          </p:cNvPr>
          <p:cNvSpPr/>
          <p:nvPr/>
        </p:nvSpPr>
        <p:spPr>
          <a:xfrm rot="14618551">
            <a:off x="3295890" y="1277193"/>
            <a:ext cx="2800140" cy="2800140"/>
          </a:xfrm>
          <a:prstGeom prst="blockArc">
            <a:avLst>
              <a:gd name="adj1" fmla="val 8317139"/>
              <a:gd name="adj2" fmla="val 10826210"/>
              <a:gd name="adj3" fmla="val 1835"/>
            </a:avLst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41" name="Elbow Connector 40">
            <a:extLst>
              <a:ext uri="{FF2B5EF4-FFF2-40B4-BE49-F238E27FC236}">
                <a16:creationId xmlns:a16="http://schemas.microsoft.com/office/drawing/2014/main" id="{AE5AB7AB-1ACB-7542-8461-876E2FE872C4}"/>
              </a:ext>
            </a:extLst>
          </p:cNvPr>
          <p:cNvCxnSpPr>
            <a:cxnSpLocks/>
          </p:cNvCxnSpPr>
          <p:nvPr/>
        </p:nvCxnSpPr>
        <p:spPr>
          <a:xfrm rot="10800000">
            <a:off x="5280488" y="3910288"/>
            <a:ext cx="3327965" cy="389537"/>
          </a:xfrm>
          <a:prstGeom prst="bentConnector3">
            <a:avLst>
              <a:gd name="adj1" fmla="val 67592"/>
            </a:avLst>
          </a:prstGeom>
          <a:ln w="25400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A6D38221-CB80-8942-A3CD-D3C1FB56BBB2}"/>
              </a:ext>
            </a:extLst>
          </p:cNvPr>
          <p:cNvSpPr txBox="1"/>
          <p:nvPr/>
        </p:nvSpPr>
        <p:spPr>
          <a:xfrm>
            <a:off x="6507615" y="3306044"/>
            <a:ext cx="1973038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9BBB59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More than 200 partner universities</a:t>
            </a:r>
          </a:p>
        </p:txBody>
      </p:sp>
      <p:pic>
        <p:nvPicPr>
          <p:cNvPr id="44" name="Picture Placeholder 9">
            <a:extLst>
              <a:ext uri="{FF2B5EF4-FFF2-40B4-BE49-F238E27FC236}">
                <a16:creationId xmlns:a16="http://schemas.microsoft.com/office/drawing/2014/main" id="{F6B2EF96-DCF9-4D86-B68C-1245209597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9" r="2659"/>
          <a:stretch>
            <a:fillRect/>
          </a:stretch>
        </p:blipFill>
        <p:spPr>
          <a:xfrm>
            <a:off x="3759914" y="2062221"/>
            <a:ext cx="1599215" cy="1199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0393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6" dur="6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8" dur="6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0" dur="6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0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2" fill="hold" nodeType="withEffect">
                                  <p:stCondLst>
                                    <p:cond delay="39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2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0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2" presetClass="entr" presetSubtype="8" fill="hold" grpId="0" nodeType="withEffect">
                                  <p:stCondLst>
                                    <p:cond delay="5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1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50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/>
      <p:bldP spid="32" grpId="0" animBg="1"/>
      <p:bldP spid="34" grpId="0"/>
      <p:bldP spid="36" grpId="0" animBg="1"/>
      <p:bldP spid="38" grpId="0"/>
      <p:bldP spid="40" grpId="0" animBg="1"/>
      <p:bldP spid="4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1018CE3-3FEE-AA3F-61BA-59435743730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pPr lvl="0"/>
            <a:r>
              <a:rPr lang="lt-LT" dirty="0" err="1"/>
              <a:t>Mykol</a:t>
            </a:r>
            <a:r>
              <a:rPr lang="en-US" dirty="0"/>
              <a:t>as</a:t>
            </a:r>
            <a:r>
              <a:rPr lang="lt-LT" dirty="0"/>
              <a:t> Romeri</a:t>
            </a:r>
            <a:r>
              <a:rPr lang="en-US" dirty="0"/>
              <a:t>s</a:t>
            </a:r>
            <a:r>
              <a:rPr lang="lt-LT" dirty="0"/>
              <a:t> </a:t>
            </a:r>
            <a:r>
              <a:rPr lang="en-US" dirty="0"/>
              <a:t>U</a:t>
            </a:r>
            <a:r>
              <a:rPr lang="lt-LT" dirty="0" err="1"/>
              <a:t>niversit</a:t>
            </a:r>
            <a:r>
              <a:rPr lang="en-US" dirty="0"/>
              <a:t>y</a:t>
            </a:r>
            <a:endParaRPr lang="lt-LT" dirty="0"/>
          </a:p>
          <a:p>
            <a:pPr lvl="0"/>
            <a:r>
              <a:rPr lang="lt-LT" dirty="0"/>
              <a:t>Ateities </a:t>
            </a:r>
            <a:r>
              <a:rPr lang="en-US" dirty="0" err="1"/>
              <a:t>st</a:t>
            </a:r>
            <a:r>
              <a:rPr lang="lt-LT" dirty="0"/>
              <a:t>. 20, Vilnius, LT-08303 Lithuania</a:t>
            </a:r>
            <a:endParaRPr lang="en-L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21C013-95F0-03E0-3267-A05D03AD1D2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>
            <a:normAutofit fontScale="77500" lnSpcReduction="20000"/>
          </a:bodyPr>
          <a:lstStyle/>
          <a:p>
            <a:pPr lvl="0"/>
            <a:r>
              <a:rPr lang="lt-LT" dirty="0" err="1"/>
              <a:t>www.mruni.eu</a:t>
            </a:r>
            <a:endParaRPr lang="en-L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67866D-4B4A-9FB6-9CEB-A18FBCC67B2B}"/>
              </a:ext>
            </a:extLst>
          </p:cNvPr>
          <p:cNvSpPr txBox="1"/>
          <p:nvPr/>
        </p:nvSpPr>
        <p:spPr>
          <a:xfrm>
            <a:off x="636815" y="1869622"/>
            <a:ext cx="6294664" cy="2257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GB" sz="1650" b="1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Prof. </a:t>
            </a:r>
            <a:r>
              <a:rPr lang="en-GB" sz="1650" b="1" dirty="0" err="1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r.</a:t>
            </a:r>
            <a:r>
              <a:rPr lang="en-GB" sz="1650" b="1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Virginijus Bitė</a:t>
            </a:r>
            <a:endParaRPr lang="en-GB" sz="165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irector of the Institute of Private Law</a:t>
            </a:r>
            <a:endParaRPr lang="en-GB" sz="150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Chairman of PhD Committee in the field of law</a:t>
            </a:r>
            <a:endParaRPr lang="en-GB" sz="150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Director of the joint master study programs "European and International Business Law“, "Private Law" and "Intellectual Property Law"</a:t>
            </a:r>
            <a:endParaRPr lang="en-GB" sz="150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en-GB" sz="150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School of Law | Mykolas </a:t>
            </a:r>
            <a:r>
              <a:rPr lang="en-GB" sz="1500" dirty="0" err="1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Romeris</a:t>
            </a:r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 University</a:t>
            </a:r>
            <a:endParaRPr lang="en-GB" sz="150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u="sng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irginijus.bite@mruni.eu</a:t>
            </a:r>
            <a:endParaRPr lang="en-GB" sz="1500" dirty="0">
              <a:solidFill>
                <a:schemeClr val="bg2"/>
              </a:solidFill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GB" sz="1500" dirty="0">
                <a:solidFill>
                  <a:schemeClr val="bg2"/>
                </a:solidFill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+370 5 2714 525 </a:t>
            </a:r>
            <a:endParaRPr lang="en-GB" sz="1500" dirty="0">
              <a:solidFill>
                <a:schemeClr val="bg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5186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Donut 19">
            <a:extLst>
              <a:ext uri="{FF2B5EF4-FFF2-40B4-BE49-F238E27FC236}">
                <a16:creationId xmlns:a16="http://schemas.microsoft.com/office/drawing/2014/main" id="{FA195ADD-E100-4F4A-BAE9-7E7E2EFD98E4}"/>
              </a:ext>
            </a:extLst>
          </p:cNvPr>
          <p:cNvSpPr/>
          <p:nvPr/>
        </p:nvSpPr>
        <p:spPr>
          <a:xfrm rot="20549946">
            <a:off x="4247418" y="2643663"/>
            <a:ext cx="2439649" cy="2439649"/>
          </a:xfrm>
          <a:prstGeom prst="donut">
            <a:avLst>
              <a:gd name="adj" fmla="val 10645"/>
            </a:avLst>
          </a:prstGeom>
          <a:gradFill flip="none" rotWithShape="1">
            <a:gsLst>
              <a:gs pos="92000">
                <a:srgbClr val="DA2127"/>
              </a:gs>
              <a:gs pos="31000">
                <a:srgbClr val="F7A31A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Donut 20">
            <a:extLst>
              <a:ext uri="{FF2B5EF4-FFF2-40B4-BE49-F238E27FC236}">
                <a16:creationId xmlns:a16="http://schemas.microsoft.com/office/drawing/2014/main" id="{C30AFC79-1DFC-D648-803A-BB49D6A5CB9A}"/>
              </a:ext>
            </a:extLst>
          </p:cNvPr>
          <p:cNvSpPr/>
          <p:nvPr/>
        </p:nvSpPr>
        <p:spPr>
          <a:xfrm rot="1390445">
            <a:off x="5518663" y="173294"/>
            <a:ext cx="1718120" cy="1718120"/>
          </a:xfrm>
          <a:prstGeom prst="donut">
            <a:avLst>
              <a:gd name="adj" fmla="val 12898"/>
            </a:avLst>
          </a:prstGeom>
          <a:gradFill flip="none" rotWithShape="1">
            <a:gsLst>
              <a:gs pos="81000">
                <a:srgbClr val="DA2127"/>
              </a:gs>
              <a:gs pos="30000">
                <a:srgbClr val="F7A31A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Donut 21">
            <a:extLst>
              <a:ext uri="{FF2B5EF4-FFF2-40B4-BE49-F238E27FC236}">
                <a16:creationId xmlns:a16="http://schemas.microsoft.com/office/drawing/2014/main" id="{A213FDF5-A53E-FB47-BF1D-C8C038414CFB}"/>
              </a:ext>
            </a:extLst>
          </p:cNvPr>
          <p:cNvSpPr/>
          <p:nvPr/>
        </p:nvSpPr>
        <p:spPr>
          <a:xfrm rot="19507613">
            <a:off x="6181753" y="1342850"/>
            <a:ext cx="2765537" cy="2765537"/>
          </a:xfrm>
          <a:prstGeom prst="donut">
            <a:avLst>
              <a:gd name="adj" fmla="val 9684"/>
            </a:avLst>
          </a:prstGeom>
          <a:gradFill flip="none" rotWithShape="1">
            <a:gsLst>
              <a:gs pos="78000">
                <a:srgbClr val="DA2127"/>
              </a:gs>
              <a:gs pos="46000">
                <a:srgbClr val="F7A31A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429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AA2F7DC-77FA-0345-A284-975495DA8681}"/>
              </a:ext>
            </a:extLst>
          </p:cNvPr>
          <p:cNvSpPr txBox="1"/>
          <p:nvPr/>
        </p:nvSpPr>
        <p:spPr>
          <a:xfrm>
            <a:off x="390041" y="310031"/>
            <a:ext cx="282566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7A31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/>
                <a:ea typeface="+mn-ea"/>
                <a:cs typeface="+mn-cs"/>
              </a:rPr>
              <a:t>LITHUANIA AT A GLANC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4E6957E-D4EC-1F40-983D-45DFF8D4E5B7}"/>
              </a:ext>
            </a:extLst>
          </p:cNvPr>
          <p:cNvGrpSpPr/>
          <p:nvPr/>
        </p:nvGrpSpPr>
        <p:grpSpPr>
          <a:xfrm>
            <a:off x="4558889" y="3582927"/>
            <a:ext cx="1813039" cy="385845"/>
            <a:chOff x="9101514" y="3304500"/>
            <a:chExt cx="2417385" cy="489582"/>
          </a:xfrm>
        </p:grpSpPr>
        <p:sp>
          <p:nvSpPr>
            <p:cNvPr id="35" name="Inhaltsplatzhalter 4">
              <a:extLst>
                <a:ext uri="{FF2B5EF4-FFF2-40B4-BE49-F238E27FC236}">
                  <a16:creationId xmlns:a16="http://schemas.microsoft.com/office/drawing/2014/main" id="{E405412A-C119-9A45-8305-24E37E741334}"/>
                </a:ext>
              </a:extLst>
            </p:cNvPr>
            <p:cNvSpPr txBox="1">
              <a:spLocks/>
            </p:cNvSpPr>
            <p:nvPr/>
          </p:nvSpPr>
          <p:spPr>
            <a:xfrm>
              <a:off x="9101514" y="3528688"/>
              <a:ext cx="2387310" cy="26539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EUROPEAN UNION</a:t>
              </a:r>
            </a:p>
          </p:txBody>
        </p:sp>
        <p:sp>
          <p:nvSpPr>
            <p:cNvPr id="36" name="Inhaltsplatzhalter 4">
              <a:extLst>
                <a:ext uri="{FF2B5EF4-FFF2-40B4-BE49-F238E27FC236}">
                  <a16:creationId xmlns:a16="http://schemas.microsoft.com/office/drawing/2014/main" id="{0043BE99-2501-5248-9191-2E04C5B49159}"/>
                </a:ext>
              </a:extLst>
            </p:cNvPr>
            <p:cNvSpPr txBox="1">
              <a:spLocks/>
            </p:cNvSpPr>
            <p:nvPr/>
          </p:nvSpPr>
          <p:spPr>
            <a:xfrm>
              <a:off x="9131589" y="3304500"/>
              <a:ext cx="2387310" cy="147831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3652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EMBER OF THE</a:t>
              </a:r>
            </a:p>
          </p:txBody>
        </p:sp>
      </p:grpSp>
      <p:sp>
        <p:nvSpPr>
          <p:cNvPr id="37" name="Google Shape;164;p22">
            <a:extLst>
              <a:ext uri="{FF2B5EF4-FFF2-40B4-BE49-F238E27FC236}">
                <a16:creationId xmlns:a16="http://schemas.microsoft.com/office/drawing/2014/main" id="{340226F2-9864-EC4A-9FAB-213E68B044C8}"/>
              </a:ext>
            </a:extLst>
          </p:cNvPr>
          <p:cNvSpPr/>
          <p:nvPr/>
        </p:nvSpPr>
        <p:spPr>
          <a:xfrm>
            <a:off x="3416092" y="399194"/>
            <a:ext cx="443508" cy="157689"/>
          </a:xfrm>
          <a:custGeom>
            <a:avLst/>
            <a:gdLst/>
            <a:ahLst/>
            <a:cxnLst/>
            <a:rect l="l" t="t" r="r" b="b"/>
            <a:pathLst>
              <a:path w="21380" h="21310" extrusionOk="0">
                <a:moveTo>
                  <a:pt x="10829" y="4"/>
                </a:moveTo>
                <a:cubicBezTo>
                  <a:pt x="8668" y="-147"/>
                  <a:pt x="6864" y="4633"/>
                  <a:pt x="6858" y="10653"/>
                </a:cubicBezTo>
                <a:cubicBezTo>
                  <a:pt x="6852" y="16420"/>
                  <a:pt x="8513" y="21087"/>
                  <a:pt x="10581" y="21303"/>
                </a:cubicBezTo>
                <a:cubicBezTo>
                  <a:pt x="12027" y="21453"/>
                  <a:pt x="13378" y="19280"/>
                  <a:pt x="14063" y="15706"/>
                </a:cubicBezTo>
                <a:cubicBezTo>
                  <a:pt x="14350" y="14244"/>
                  <a:pt x="14842" y="13182"/>
                  <a:pt x="15419" y="12765"/>
                </a:cubicBezTo>
                <a:cubicBezTo>
                  <a:pt x="16212" y="12191"/>
                  <a:pt x="17052" y="12890"/>
                  <a:pt x="17603" y="14590"/>
                </a:cubicBezTo>
                <a:cubicBezTo>
                  <a:pt x="18900" y="18813"/>
                  <a:pt x="21371" y="16270"/>
                  <a:pt x="21381" y="10698"/>
                </a:cubicBezTo>
                <a:cubicBezTo>
                  <a:pt x="21390" y="5071"/>
                  <a:pt x="18891" y="2453"/>
                  <a:pt x="17587" y="6731"/>
                </a:cubicBezTo>
                <a:cubicBezTo>
                  <a:pt x="17150" y="8044"/>
                  <a:pt x="16527" y="8760"/>
                  <a:pt x="15887" y="8692"/>
                </a:cubicBezTo>
                <a:cubicBezTo>
                  <a:pt x="15103" y="8610"/>
                  <a:pt x="14394" y="7388"/>
                  <a:pt x="14014" y="5464"/>
                </a:cubicBezTo>
                <a:cubicBezTo>
                  <a:pt x="13376" y="2181"/>
                  <a:pt x="12162" y="97"/>
                  <a:pt x="10829" y="4"/>
                </a:cubicBezTo>
                <a:close/>
                <a:moveTo>
                  <a:pt x="2155" y="4559"/>
                </a:moveTo>
                <a:cubicBezTo>
                  <a:pt x="1603" y="4559"/>
                  <a:pt x="1053" y="5159"/>
                  <a:pt x="632" y="6339"/>
                </a:cubicBezTo>
                <a:cubicBezTo>
                  <a:pt x="-210" y="8699"/>
                  <a:pt x="-210" y="12517"/>
                  <a:pt x="632" y="14877"/>
                </a:cubicBezTo>
                <a:cubicBezTo>
                  <a:pt x="1474" y="17237"/>
                  <a:pt x="2836" y="17237"/>
                  <a:pt x="3677" y="14877"/>
                </a:cubicBezTo>
                <a:cubicBezTo>
                  <a:pt x="4519" y="12517"/>
                  <a:pt x="4519" y="8699"/>
                  <a:pt x="3677" y="6339"/>
                </a:cubicBezTo>
                <a:cubicBezTo>
                  <a:pt x="3257" y="5159"/>
                  <a:pt x="2706" y="4559"/>
                  <a:pt x="2155" y="4559"/>
                </a:cubicBezTo>
                <a:close/>
              </a:path>
            </a:pathLst>
          </a:custGeom>
          <a:gradFill>
            <a:gsLst>
              <a:gs pos="0">
                <a:schemeClr val="accent4"/>
              </a:gs>
              <a:gs pos="100000">
                <a:srgbClr val="DA2127"/>
              </a:gs>
            </a:gsLst>
            <a:lin ang="201583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40FBB9D-FFB0-6C4D-A036-F0183E0E3226}"/>
              </a:ext>
            </a:extLst>
          </p:cNvPr>
          <p:cNvGrpSpPr/>
          <p:nvPr/>
        </p:nvGrpSpPr>
        <p:grpSpPr>
          <a:xfrm>
            <a:off x="6691893" y="2539986"/>
            <a:ext cx="1813039" cy="375060"/>
            <a:chOff x="9101514" y="3300744"/>
            <a:chExt cx="2417385" cy="500080"/>
          </a:xfrm>
        </p:grpSpPr>
        <p:sp>
          <p:nvSpPr>
            <p:cNvPr id="42" name="Inhaltsplatzhalter 4">
              <a:extLst>
                <a:ext uri="{FF2B5EF4-FFF2-40B4-BE49-F238E27FC236}">
                  <a16:creationId xmlns:a16="http://schemas.microsoft.com/office/drawing/2014/main" id="{2608B4BD-5272-EB42-93C0-E323B4BE00FD}"/>
                </a:ext>
              </a:extLst>
            </p:cNvPr>
            <p:cNvSpPr txBox="1">
              <a:spLocks/>
            </p:cNvSpPr>
            <p:nvPr/>
          </p:nvSpPr>
          <p:spPr>
            <a:xfrm>
              <a:off x="9101514" y="3521944"/>
              <a:ext cx="2387310" cy="27888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35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2.8 million</a:t>
              </a:r>
            </a:p>
          </p:txBody>
        </p:sp>
        <p:sp>
          <p:nvSpPr>
            <p:cNvPr id="43" name="Inhaltsplatzhalter 4">
              <a:extLst>
                <a:ext uri="{FF2B5EF4-FFF2-40B4-BE49-F238E27FC236}">
                  <a16:creationId xmlns:a16="http://schemas.microsoft.com/office/drawing/2014/main" id="{776AFD2B-7C1B-A24A-ABE1-A2446CB96C16}"/>
                </a:ext>
              </a:extLst>
            </p:cNvPr>
            <p:cNvSpPr txBox="1">
              <a:spLocks/>
            </p:cNvSpPr>
            <p:nvPr/>
          </p:nvSpPr>
          <p:spPr>
            <a:xfrm>
              <a:off x="9131589" y="3300744"/>
              <a:ext cx="2387310" cy="155343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3652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NHABITANTS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93009CE-B988-674A-A9E3-D3C4E1FCC420}"/>
              </a:ext>
            </a:extLst>
          </p:cNvPr>
          <p:cNvGrpSpPr/>
          <p:nvPr/>
        </p:nvGrpSpPr>
        <p:grpSpPr>
          <a:xfrm>
            <a:off x="5471204" y="826967"/>
            <a:ext cx="1813039" cy="327364"/>
            <a:chOff x="9101514" y="3300744"/>
            <a:chExt cx="2417385" cy="436484"/>
          </a:xfrm>
        </p:grpSpPr>
        <p:sp>
          <p:nvSpPr>
            <p:cNvPr id="45" name="Inhaltsplatzhalter 4">
              <a:extLst>
                <a:ext uri="{FF2B5EF4-FFF2-40B4-BE49-F238E27FC236}">
                  <a16:creationId xmlns:a16="http://schemas.microsoft.com/office/drawing/2014/main" id="{A26D2BBB-86CA-AC43-A212-E411138E2595}"/>
                </a:ext>
              </a:extLst>
            </p:cNvPr>
            <p:cNvSpPr txBox="1">
              <a:spLocks/>
            </p:cNvSpPr>
            <p:nvPr/>
          </p:nvSpPr>
          <p:spPr>
            <a:xfrm>
              <a:off x="9101514" y="3504858"/>
              <a:ext cx="2387310" cy="232370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125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65 300 km²</a:t>
              </a:r>
            </a:p>
          </p:txBody>
        </p:sp>
        <p:sp>
          <p:nvSpPr>
            <p:cNvPr id="46" name="Inhaltsplatzhalter 4">
              <a:extLst>
                <a:ext uri="{FF2B5EF4-FFF2-40B4-BE49-F238E27FC236}">
                  <a16:creationId xmlns:a16="http://schemas.microsoft.com/office/drawing/2014/main" id="{6EF7972B-D528-AA4D-862A-FC7133E71E3D}"/>
                </a:ext>
              </a:extLst>
            </p:cNvPr>
            <p:cNvSpPr txBox="1">
              <a:spLocks/>
            </p:cNvSpPr>
            <p:nvPr/>
          </p:nvSpPr>
          <p:spPr>
            <a:xfrm>
              <a:off x="9131589" y="3300744"/>
              <a:ext cx="2387310" cy="15534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>
              <a:lvl1pPr marL="272967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Wingdings" panose="05000000000000000000" pitchFamily="2" charset="2"/>
                <a:buChar char="§"/>
                <a:defRPr sz="23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1pPr>
              <a:lvl2pPr marL="807798" indent="-272967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20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2pPr>
              <a:lvl3pPr marL="1080764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9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3pPr>
              <a:lvl4pPr marL="1436256" indent="-177748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4pPr>
              <a:lvl5pPr marL="1793335" indent="-179335" algn="l" defTabSz="914127" rtl="0" eaLnBrk="1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10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bg1"/>
                  </a:solidFill>
                  <a:latin typeface="Calibri Light" panose="020F0302020204030204" pitchFamily="34" charset="0"/>
                  <a:ea typeface="+mn-ea"/>
                  <a:cs typeface="+mn-cs"/>
                </a:defRPr>
              </a:lvl5pPr>
              <a:lvl6pPr marL="2513847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0910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7972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5034" indent="-228532" algn="l" defTabSz="914127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685595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750"/>
                </a:spcAft>
                <a:buClrTx/>
                <a:buSzTx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750" b="0" i="0" u="none" strike="noStrike" kern="1200" cap="none" spc="0" normalizeH="0" baseline="0" noProof="0" dirty="0">
                  <a:ln>
                    <a:noFill/>
                  </a:ln>
                  <a:solidFill>
                    <a:srgbClr val="F36523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AREA</a:t>
              </a:r>
            </a:p>
          </p:txBody>
        </p:sp>
      </p:grpSp>
      <p:sp>
        <p:nvSpPr>
          <p:cNvPr id="7" name="Arc 6">
            <a:extLst>
              <a:ext uri="{FF2B5EF4-FFF2-40B4-BE49-F238E27FC236}">
                <a16:creationId xmlns:a16="http://schemas.microsoft.com/office/drawing/2014/main" id="{D53BE6FA-8990-AD4C-9497-2070BDF17ADB}"/>
              </a:ext>
            </a:extLst>
          </p:cNvPr>
          <p:cNvSpPr/>
          <p:nvPr/>
        </p:nvSpPr>
        <p:spPr>
          <a:xfrm>
            <a:off x="4599646" y="2992750"/>
            <a:ext cx="1728080" cy="1748790"/>
          </a:xfrm>
          <a:prstGeom prst="arc">
            <a:avLst>
              <a:gd name="adj1" fmla="val 16200000"/>
              <a:gd name="adj2" fmla="val 10741235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Arc 52">
            <a:extLst>
              <a:ext uri="{FF2B5EF4-FFF2-40B4-BE49-F238E27FC236}">
                <a16:creationId xmlns:a16="http://schemas.microsoft.com/office/drawing/2014/main" id="{6BB208E6-7DFD-EA4F-A322-3C6EDA51ABBA}"/>
              </a:ext>
            </a:extLst>
          </p:cNvPr>
          <p:cNvSpPr>
            <a:spLocks noChangeAspect="1"/>
          </p:cNvSpPr>
          <p:nvPr/>
        </p:nvSpPr>
        <p:spPr>
          <a:xfrm>
            <a:off x="6527383" y="1687619"/>
            <a:ext cx="2057400" cy="2057400"/>
          </a:xfrm>
          <a:prstGeom prst="arc">
            <a:avLst>
              <a:gd name="adj1" fmla="val 5443054"/>
              <a:gd name="adj2" fmla="val 21574773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4" name="Arc 53">
            <a:extLst>
              <a:ext uri="{FF2B5EF4-FFF2-40B4-BE49-F238E27FC236}">
                <a16:creationId xmlns:a16="http://schemas.microsoft.com/office/drawing/2014/main" id="{D9F29CBE-FFA4-FE48-9DEC-88D115FBC20D}"/>
              </a:ext>
            </a:extLst>
          </p:cNvPr>
          <p:cNvSpPr>
            <a:spLocks noChangeAspect="1"/>
          </p:cNvSpPr>
          <p:nvPr/>
        </p:nvSpPr>
        <p:spPr>
          <a:xfrm rot="16200000">
            <a:off x="5821224" y="478039"/>
            <a:ext cx="1111172" cy="1111172"/>
          </a:xfrm>
          <a:prstGeom prst="arc">
            <a:avLst>
              <a:gd name="adj1" fmla="val 5443054"/>
              <a:gd name="adj2" fmla="val 21574773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57" name="Group 69">
            <a:extLst>
              <a:ext uri="{FF2B5EF4-FFF2-40B4-BE49-F238E27FC236}">
                <a16:creationId xmlns:a16="http://schemas.microsoft.com/office/drawing/2014/main" id="{C10413F8-E6BC-4F4B-A4B9-A9A91A8A1D53}"/>
              </a:ext>
            </a:extLst>
          </p:cNvPr>
          <p:cNvGrpSpPr/>
          <p:nvPr/>
        </p:nvGrpSpPr>
        <p:grpSpPr>
          <a:xfrm>
            <a:off x="1011461" y="1036622"/>
            <a:ext cx="2204247" cy="2740392"/>
            <a:chOff x="5954713" y="601028"/>
            <a:chExt cx="3929063" cy="4884738"/>
          </a:xfrm>
          <a:solidFill>
            <a:schemeClr val="bg1">
              <a:lumMod val="6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58" name="Freeform 484">
              <a:extLst>
                <a:ext uri="{FF2B5EF4-FFF2-40B4-BE49-F238E27FC236}">
                  <a16:creationId xmlns:a16="http://schemas.microsoft.com/office/drawing/2014/main" id="{957DCB42-CE11-430C-B5B3-B2D5268B5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82000" y="2467928"/>
              <a:ext cx="123825" cy="82550"/>
            </a:xfrm>
            <a:custGeom>
              <a:avLst/>
              <a:gdLst>
                <a:gd name="T0" fmla="*/ 23 w 78"/>
                <a:gd name="T1" fmla="*/ 52 h 52"/>
                <a:gd name="T2" fmla="*/ 33 w 78"/>
                <a:gd name="T3" fmla="*/ 43 h 52"/>
                <a:gd name="T4" fmla="*/ 33 w 78"/>
                <a:gd name="T5" fmla="*/ 33 h 52"/>
                <a:gd name="T6" fmla="*/ 49 w 78"/>
                <a:gd name="T7" fmla="*/ 33 h 52"/>
                <a:gd name="T8" fmla="*/ 59 w 78"/>
                <a:gd name="T9" fmla="*/ 33 h 52"/>
                <a:gd name="T10" fmla="*/ 59 w 78"/>
                <a:gd name="T11" fmla="*/ 26 h 52"/>
                <a:gd name="T12" fmla="*/ 66 w 78"/>
                <a:gd name="T13" fmla="*/ 17 h 52"/>
                <a:gd name="T14" fmla="*/ 78 w 78"/>
                <a:gd name="T15" fmla="*/ 9 h 52"/>
                <a:gd name="T16" fmla="*/ 59 w 78"/>
                <a:gd name="T17" fmla="*/ 0 h 52"/>
                <a:gd name="T18" fmla="*/ 33 w 78"/>
                <a:gd name="T19" fmla="*/ 17 h 52"/>
                <a:gd name="T20" fmla="*/ 23 w 78"/>
                <a:gd name="T21" fmla="*/ 0 h 52"/>
                <a:gd name="T22" fmla="*/ 16 w 78"/>
                <a:gd name="T23" fmla="*/ 9 h 52"/>
                <a:gd name="T24" fmla="*/ 16 w 78"/>
                <a:gd name="T25" fmla="*/ 17 h 52"/>
                <a:gd name="T26" fmla="*/ 16 w 78"/>
                <a:gd name="T27" fmla="*/ 26 h 52"/>
                <a:gd name="T28" fmla="*/ 0 w 78"/>
                <a:gd name="T29" fmla="*/ 33 h 52"/>
                <a:gd name="T30" fmla="*/ 7 w 78"/>
                <a:gd name="T31" fmla="*/ 33 h 52"/>
                <a:gd name="T32" fmla="*/ 16 w 78"/>
                <a:gd name="T33" fmla="*/ 33 h 52"/>
                <a:gd name="T34" fmla="*/ 23 w 78"/>
                <a:gd name="T35" fmla="*/ 43 h 52"/>
                <a:gd name="T36" fmla="*/ 23 w 78"/>
                <a:gd name="T37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8" h="52">
                  <a:moveTo>
                    <a:pt x="23" y="52"/>
                  </a:moveTo>
                  <a:lnTo>
                    <a:pt x="33" y="43"/>
                  </a:lnTo>
                  <a:lnTo>
                    <a:pt x="33" y="33"/>
                  </a:lnTo>
                  <a:lnTo>
                    <a:pt x="49" y="33"/>
                  </a:lnTo>
                  <a:lnTo>
                    <a:pt x="59" y="33"/>
                  </a:lnTo>
                  <a:lnTo>
                    <a:pt x="59" y="26"/>
                  </a:lnTo>
                  <a:lnTo>
                    <a:pt x="66" y="17"/>
                  </a:lnTo>
                  <a:lnTo>
                    <a:pt x="78" y="9"/>
                  </a:lnTo>
                  <a:lnTo>
                    <a:pt x="59" y="0"/>
                  </a:lnTo>
                  <a:lnTo>
                    <a:pt x="33" y="17"/>
                  </a:lnTo>
                  <a:lnTo>
                    <a:pt x="23" y="0"/>
                  </a:lnTo>
                  <a:lnTo>
                    <a:pt x="16" y="9"/>
                  </a:lnTo>
                  <a:lnTo>
                    <a:pt x="16" y="17"/>
                  </a:lnTo>
                  <a:lnTo>
                    <a:pt x="16" y="26"/>
                  </a:lnTo>
                  <a:lnTo>
                    <a:pt x="0" y="33"/>
                  </a:lnTo>
                  <a:lnTo>
                    <a:pt x="7" y="33"/>
                  </a:lnTo>
                  <a:lnTo>
                    <a:pt x="16" y="33"/>
                  </a:lnTo>
                  <a:lnTo>
                    <a:pt x="23" y="43"/>
                  </a:lnTo>
                  <a:lnTo>
                    <a:pt x="23" y="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485">
              <a:extLst>
                <a:ext uri="{FF2B5EF4-FFF2-40B4-BE49-F238E27FC236}">
                  <a16:creationId xmlns:a16="http://schemas.microsoft.com/office/drawing/2014/main" id="{B5170FF3-EA00-44AC-B5CA-B45624BEDF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18513" y="2399666"/>
              <a:ext cx="57150" cy="52388"/>
            </a:xfrm>
            <a:custGeom>
              <a:avLst/>
              <a:gdLst>
                <a:gd name="T0" fmla="*/ 19 w 36"/>
                <a:gd name="T1" fmla="*/ 33 h 33"/>
                <a:gd name="T2" fmla="*/ 19 w 36"/>
                <a:gd name="T3" fmla="*/ 17 h 33"/>
                <a:gd name="T4" fmla="*/ 10 w 36"/>
                <a:gd name="T5" fmla="*/ 17 h 33"/>
                <a:gd name="T6" fmla="*/ 0 w 36"/>
                <a:gd name="T7" fmla="*/ 17 h 33"/>
                <a:gd name="T8" fmla="*/ 0 w 36"/>
                <a:gd name="T9" fmla="*/ 10 h 33"/>
                <a:gd name="T10" fmla="*/ 10 w 36"/>
                <a:gd name="T11" fmla="*/ 10 h 33"/>
                <a:gd name="T12" fmla="*/ 19 w 36"/>
                <a:gd name="T13" fmla="*/ 0 h 33"/>
                <a:gd name="T14" fmla="*/ 36 w 36"/>
                <a:gd name="T15" fmla="*/ 10 h 33"/>
                <a:gd name="T16" fmla="*/ 36 w 36"/>
                <a:gd name="T17" fmla="*/ 17 h 33"/>
                <a:gd name="T18" fmla="*/ 26 w 36"/>
                <a:gd name="T19" fmla="*/ 26 h 33"/>
                <a:gd name="T20" fmla="*/ 19 w 36"/>
                <a:gd name="T2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3">
                  <a:moveTo>
                    <a:pt x="19" y="33"/>
                  </a:moveTo>
                  <a:lnTo>
                    <a:pt x="19" y="17"/>
                  </a:lnTo>
                  <a:lnTo>
                    <a:pt x="10" y="17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10" y="10"/>
                  </a:lnTo>
                  <a:lnTo>
                    <a:pt x="19" y="0"/>
                  </a:lnTo>
                  <a:lnTo>
                    <a:pt x="36" y="10"/>
                  </a:lnTo>
                  <a:lnTo>
                    <a:pt x="36" y="17"/>
                  </a:lnTo>
                  <a:lnTo>
                    <a:pt x="26" y="26"/>
                  </a:lnTo>
                  <a:lnTo>
                    <a:pt x="19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486">
              <a:extLst>
                <a:ext uri="{FF2B5EF4-FFF2-40B4-BE49-F238E27FC236}">
                  <a16:creationId xmlns:a16="http://schemas.microsoft.com/office/drawing/2014/main" id="{4EE7FB37-E527-4FFC-9A97-BD7E473397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790113" y="601028"/>
              <a:ext cx="93663" cy="119063"/>
            </a:xfrm>
            <a:custGeom>
              <a:avLst/>
              <a:gdLst>
                <a:gd name="T0" fmla="*/ 52 w 59"/>
                <a:gd name="T1" fmla="*/ 75 h 75"/>
                <a:gd name="T2" fmla="*/ 35 w 59"/>
                <a:gd name="T3" fmla="*/ 68 h 75"/>
                <a:gd name="T4" fmla="*/ 16 w 59"/>
                <a:gd name="T5" fmla="*/ 59 h 75"/>
                <a:gd name="T6" fmla="*/ 16 w 59"/>
                <a:gd name="T7" fmla="*/ 49 h 75"/>
                <a:gd name="T8" fmla="*/ 0 w 59"/>
                <a:gd name="T9" fmla="*/ 42 h 75"/>
                <a:gd name="T10" fmla="*/ 0 w 59"/>
                <a:gd name="T11" fmla="*/ 23 h 75"/>
                <a:gd name="T12" fmla="*/ 7 w 59"/>
                <a:gd name="T13" fmla="*/ 9 h 75"/>
                <a:gd name="T14" fmla="*/ 7 w 59"/>
                <a:gd name="T15" fmla="*/ 0 h 75"/>
                <a:gd name="T16" fmla="*/ 16 w 59"/>
                <a:gd name="T17" fmla="*/ 0 h 75"/>
                <a:gd name="T18" fmla="*/ 35 w 59"/>
                <a:gd name="T19" fmla="*/ 9 h 75"/>
                <a:gd name="T20" fmla="*/ 52 w 59"/>
                <a:gd name="T21" fmla="*/ 9 h 75"/>
                <a:gd name="T22" fmla="*/ 59 w 59"/>
                <a:gd name="T23" fmla="*/ 23 h 75"/>
                <a:gd name="T24" fmla="*/ 59 w 59"/>
                <a:gd name="T25" fmla="*/ 33 h 75"/>
                <a:gd name="T26" fmla="*/ 59 w 59"/>
                <a:gd name="T27" fmla="*/ 42 h 75"/>
                <a:gd name="T28" fmla="*/ 52 w 59"/>
                <a:gd name="T29" fmla="*/ 59 h 75"/>
                <a:gd name="T30" fmla="*/ 59 w 59"/>
                <a:gd name="T31" fmla="*/ 68 h 75"/>
                <a:gd name="T32" fmla="*/ 52 w 59"/>
                <a:gd name="T33" fmla="*/ 7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75">
                  <a:moveTo>
                    <a:pt x="52" y="75"/>
                  </a:moveTo>
                  <a:lnTo>
                    <a:pt x="35" y="68"/>
                  </a:lnTo>
                  <a:lnTo>
                    <a:pt x="16" y="59"/>
                  </a:lnTo>
                  <a:lnTo>
                    <a:pt x="16" y="49"/>
                  </a:lnTo>
                  <a:lnTo>
                    <a:pt x="0" y="42"/>
                  </a:lnTo>
                  <a:lnTo>
                    <a:pt x="0" y="23"/>
                  </a:lnTo>
                  <a:lnTo>
                    <a:pt x="7" y="9"/>
                  </a:lnTo>
                  <a:lnTo>
                    <a:pt x="7" y="0"/>
                  </a:lnTo>
                  <a:lnTo>
                    <a:pt x="16" y="0"/>
                  </a:lnTo>
                  <a:lnTo>
                    <a:pt x="35" y="9"/>
                  </a:lnTo>
                  <a:lnTo>
                    <a:pt x="52" y="9"/>
                  </a:lnTo>
                  <a:lnTo>
                    <a:pt x="59" y="23"/>
                  </a:lnTo>
                  <a:lnTo>
                    <a:pt x="59" y="33"/>
                  </a:lnTo>
                  <a:lnTo>
                    <a:pt x="59" y="42"/>
                  </a:lnTo>
                  <a:lnTo>
                    <a:pt x="52" y="59"/>
                  </a:lnTo>
                  <a:lnTo>
                    <a:pt x="59" y="68"/>
                  </a:lnTo>
                  <a:lnTo>
                    <a:pt x="52" y="75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500">
              <a:extLst>
                <a:ext uri="{FF2B5EF4-FFF2-40B4-BE49-F238E27FC236}">
                  <a16:creationId xmlns:a16="http://schemas.microsoft.com/office/drawing/2014/main" id="{5747BC45-03F6-41DA-9B9F-8A56A4A078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5688" y="5026978"/>
              <a:ext cx="123825" cy="82550"/>
            </a:xfrm>
            <a:custGeom>
              <a:avLst/>
              <a:gdLst>
                <a:gd name="T0" fmla="*/ 43 w 78"/>
                <a:gd name="T1" fmla="*/ 52 h 52"/>
                <a:gd name="T2" fmla="*/ 43 w 78"/>
                <a:gd name="T3" fmla="*/ 45 h 52"/>
                <a:gd name="T4" fmla="*/ 33 w 78"/>
                <a:gd name="T5" fmla="*/ 45 h 52"/>
                <a:gd name="T6" fmla="*/ 26 w 78"/>
                <a:gd name="T7" fmla="*/ 26 h 52"/>
                <a:gd name="T8" fmla="*/ 17 w 78"/>
                <a:gd name="T9" fmla="*/ 26 h 52"/>
                <a:gd name="T10" fmla="*/ 0 w 78"/>
                <a:gd name="T11" fmla="*/ 26 h 52"/>
                <a:gd name="T12" fmla="*/ 0 w 78"/>
                <a:gd name="T13" fmla="*/ 19 h 52"/>
                <a:gd name="T14" fmla="*/ 7 w 78"/>
                <a:gd name="T15" fmla="*/ 19 h 52"/>
                <a:gd name="T16" fmla="*/ 17 w 78"/>
                <a:gd name="T17" fmla="*/ 19 h 52"/>
                <a:gd name="T18" fmla="*/ 33 w 78"/>
                <a:gd name="T19" fmla="*/ 19 h 52"/>
                <a:gd name="T20" fmla="*/ 33 w 78"/>
                <a:gd name="T21" fmla="*/ 9 h 52"/>
                <a:gd name="T22" fmla="*/ 43 w 78"/>
                <a:gd name="T23" fmla="*/ 0 h 52"/>
                <a:gd name="T24" fmla="*/ 52 w 78"/>
                <a:gd name="T25" fmla="*/ 9 h 52"/>
                <a:gd name="T26" fmla="*/ 52 w 78"/>
                <a:gd name="T27" fmla="*/ 19 h 52"/>
                <a:gd name="T28" fmla="*/ 59 w 78"/>
                <a:gd name="T29" fmla="*/ 26 h 52"/>
                <a:gd name="T30" fmla="*/ 69 w 78"/>
                <a:gd name="T31" fmla="*/ 26 h 52"/>
                <a:gd name="T32" fmla="*/ 78 w 78"/>
                <a:gd name="T33" fmla="*/ 26 h 52"/>
                <a:gd name="T34" fmla="*/ 69 w 78"/>
                <a:gd name="T35" fmla="*/ 35 h 52"/>
                <a:gd name="T36" fmla="*/ 59 w 78"/>
                <a:gd name="T37" fmla="*/ 35 h 52"/>
                <a:gd name="T38" fmla="*/ 59 w 78"/>
                <a:gd name="T39" fmla="*/ 45 h 52"/>
                <a:gd name="T40" fmla="*/ 52 w 78"/>
                <a:gd name="T41" fmla="*/ 52 h 52"/>
                <a:gd name="T42" fmla="*/ 43 w 78"/>
                <a:gd name="T4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8" h="52">
                  <a:moveTo>
                    <a:pt x="43" y="52"/>
                  </a:moveTo>
                  <a:lnTo>
                    <a:pt x="43" y="45"/>
                  </a:lnTo>
                  <a:lnTo>
                    <a:pt x="33" y="45"/>
                  </a:lnTo>
                  <a:lnTo>
                    <a:pt x="26" y="26"/>
                  </a:lnTo>
                  <a:lnTo>
                    <a:pt x="17" y="26"/>
                  </a:lnTo>
                  <a:lnTo>
                    <a:pt x="0" y="26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7" y="19"/>
                  </a:lnTo>
                  <a:lnTo>
                    <a:pt x="33" y="19"/>
                  </a:lnTo>
                  <a:lnTo>
                    <a:pt x="33" y="9"/>
                  </a:lnTo>
                  <a:lnTo>
                    <a:pt x="43" y="0"/>
                  </a:lnTo>
                  <a:lnTo>
                    <a:pt x="52" y="9"/>
                  </a:lnTo>
                  <a:lnTo>
                    <a:pt x="52" y="19"/>
                  </a:lnTo>
                  <a:lnTo>
                    <a:pt x="59" y="26"/>
                  </a:lnTo>
                  <a:lnTo>
                    <a:pt x="69" y="26"/>
                  </a:lnTo>
                  <a:lnTo>
                    <a:pt x="78" y="26"/>
                  </a:lnTo>
                  <a:lnTo>
                    <a:pt x="69" y="35"/>
                  </a:lnTo>
                  <a:lnTo>
                    <a:pt x="59" y="35"/>
                  </a:lnTo>
                  <a:lnTo>
                    <a:pt x="59" y="45"/>
                  </a:lnTo>
                  <a:lnTo>
                    <a:pt x="52" y="52"/>
                  </a:lnTo>
                  <a:lnTo>
                    <a:pt x="43" y="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501">
              <a:extLst>
                <a:ext uri="{FF2B5EF4-FFF2-40B4-BE49-F238E27FC236}">
                  <a16:creationId xmlns:a16="http://schemas.microsoft.com/office/drawing/2014/main" id="{B45BF209-E48B-4B19-8AEE-87CAE1E78B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900" y="5026978"/>
              <a:ext cx="57150" cy="41275"/>
            </a:xfrm>
            <a:custGeom>
              <a:avLst/>
              <a:gdLst>
                <a:gd name="T0" fmla="*/ 26 w 36"/>
                <a:gd name="T1" fmla="*/ 26 h 26"/>
                <a:gd name="T2" fmla="*/ 19 w 36"/>
                <a:gd name="T3" fmla="*/ 19 h 26"/>
                <a:gd name="T4" fmla="*/ 10 w 36"/>
                <a:gd name="T5" fmla="*/ 19 h 26"/>
                <a:gd name="T6" fmla="*/ 0 w 36"/>
                <a:gd name="T7" fmla="*/ 9 h 26"/>
                <a:gd name="T8" fmla="*/ 0 w 36"/>
                <a:gd name="T9" fmla="*/ 0 h 26"/>
                <a:gd name="T10" fmla="*/ 10 w 36"/>
                <a:gd name="T11" fmla="*/ 0 h 26"/>
                <a:gd name="T12" fmla="*/ 19 w 36"/>
                <a:gd name="T13" fmla="*/ 9 h 26"/>
                <a:gd name="T14" fmla="*/ 26 w 36"/>
                <a:gd name="T15" fmla="*/ 9 h 26"/>
                <a:gd name="T16" fmla="*/ 36 w 36"/>
                <a:gd name="T17" fmla="*/ 9 h 26"/>
                <a:gd name="T18" fmla="*/ 36 w 36"/>
                <a:gd name="T19" fmla="*/ 19 h 26"/>
                <a:gd name="T20" fmla="*/ 36 w 36"/>
                <a:gd name="T21" fmla="*/ 26 h 26"/>
                <a:gd name="T22" fmla="*/ 26 w 36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6" h="26">
                  <a:moveTo>
                    <a:pt x="26" y="26"/>
                  </a:moveTo>
                  <a:lnTo>
                    <a:pt x="19" y="19"/>
                  </a:lnTo>
                  <a:lnTo>
                    <a:pt x="10" y="19"/>
                  </a:lnTo>
                  <a:lnTo>
                    <a:pt x="0" y="9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9" y="9"/>
                  </a:lnTo>
                  <a:lnTo>
                    <a:pt x="26" y="9"/>
                  </a:lnTo>
                  <a:lnTo>
                    <a:pt x="36" y="9"/>
                  </a:lnTo>
                  <a:lnTo>
                    <a:pt x="36" y="19"/>
                  </a:lnTo>
                  <a:lnTo>
                    <a:pt x="36" y="26"/>
                  </a:lnTo>
                  <a:lnTo>
                    <a:pt x="26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502">
              <a:extLst>
                <a:ext uri="{FF2B5EF4-FFF2-40B4-BE49-F238E27FC236}">
                  <a16:creationId xmlns:a16="http://schemas.microsoft.com/office/drawing/2014/main" id="{6E756E7C-DCD0-43BE-A134-7580FAAC973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4713" y="5109528"/>
              <a:ext cx="57150" cy="41275"/>
            </a:xfrm>
            <a:custGeom>
              <a:avLst/>
              <a:gdLst>
                <a:gd name="T0" fmla="*/ 19 w 36"/>
                <a:gd name="T1" fmla="*/ 16 h 26"/>
                <a:gd name="T2" fmla="*/ 26 w 36"/>
                <a:gd name="T3" fmla="*/ 16 h 26"/>
                <a:gd name="T4" fmla="*/ 26 w 36"/>
                <a:gd name="T5" fmla="*/ 9 h 26"/>
                <a:gd name="T6" fmla="*/ 36 w 36"/>
                <a:gd name="T7" fmla="*/ 0 h 26"/>
                <a:gd name="T8" fmla="*/ 26 w 36"/>
                <a:gd name="T9" fmla="*/ 0 h 26"/>
                <a:gd name="T10" fmla="*/ 19 w 36"/>
                <a:gd name="T11" fmla="*/ 0 h 26"/>
                <a:gd name="T12" fmla="*/ 19 w 36"/>
                <a:gd name="T13" fmla="*/ 9 h 26"/>
                <a:gd name="T14" fmla="*/ 0 w 36"/>
                <a:gd name="T15" fmla="*/ 9 h 26"/>
                <a:gd name="T16" fmla="*/ 0 w 36"/>
                <a:gd name="T17" fmla="*/ 16 h 26"/>
                <a:gd name="T18" fmla="*/ 0 w 36"/>
                <a:gd name="T19" fmla="*/ 26 h 26"/>
                <a:gd name="T20" fmla="*/ 19 w 36"/>
                <a:gd name="T21" fmla="*/ 1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26">
                  <a:moveTo>
                    <a:pt x="19" y="16"/>
                  </a:moveTo>
                  <a:lnTo>
                    <a:pt x="26" y="16"/>
                  </a:lnTo>
                  <a:lnTo>
                    <a:pt x="26" y="9"/>
                  </a:lnTo>
                  <a:lnTo>
                    <a:pt x="36" y="0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19" y="9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6"/>
                  </a:lnTo>
                  <a:lnTo>
                    <a:pt x="19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510">
              <a:extLst>
                <a:ext uri="{FF2B5EF4-FFF2-40B4-BE49-F238E27FC236}">
                  <a16:creationId xmlns:a16="http://schemas.microsoft.com/office/drawing/2014/main" id="{27E661A5-E9C6-4811-911A-62F4A38CD65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11863" y="2904491"/>
              <a:ext cx="41275" cy="25400"/>
            </a:xfrm>
            <a:custGeom>
              <a:avLst/>
              <a:gdLst>
                <a:gd name="T0" fmla="*/ 17 w 26"/>
                <a:gd name="T1" fmla="*/ 16 h 16"/>
                <a:gd name="T2" fmla="*/ 7 w 26"/>
                <a:gd name="T3" fmla="*/ 16 h 16"/>
                <a:gd name="T4" fmla="*/ 0 w 26"/>
                <a:gd name="T5" fmla="*/ 16 h 16"/>
                <a:gd name="T6" fmla="*/ 0 w 26"/>
                <a:gd name="T7" fmla="*/ 0 h 16"/>
                <a:gd name="T8" fmla="*/ 7 w 26"/>
                <a:gd name="T9" fmla="*/ 0 h 16"/>
                <a:gd name="T10" fmla="*/ 17 w 26"/>
                <a:gd name="T11" fmla="*/ 0 h 16"/>
                <a:gd name="T12" fmla="*/ 26 w 26"/>
                <a:gd name="T13" fmla="*/ 9 h 16"/>
                <a:gd name="T14" fmla="*/ 17 w 26"/>
                <a:gd name="T1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6">
                  <a:moveTo>
                    <a:pt x="17" y="16"/>
                  </a:moveTo>
                  <a:lnTo>
                    <a:pt x="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17" y="0"/>
                  </a:lnTo>
                  <a:lnTo>
                    <a:pt x="26" y="9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 511">
              <a:extLst>
                <a:ext uri="{FF2B5EF4-FFF2-40B4-BE49-F238E27FC236}">
                  <a16:creationId xmlns:a16="http://schemas.microsoft.com/office/drawing/2014/main" id="{E00757A8-D90F-450E-BD8A-67586F202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54738" y="3369628"/>
              <a:ext cx="41275" cy="11113"/>
            </a:xfrm>
            <a:custGeom>
              <a:avLst/>
              <a:gdLst>
                <a:gd name="T0" fmla="*/ 0 w 26"/>
                <a:gd name="T1" fmla="*/ 0 h 7"/>
                <a:gd name="T2" fmla="*/ 19 w 26"/>
                <a:gd name="T3" fmla="*/ 0 h 7"/>
                <a:gd name="T4" fmla="*/ 26 w 26"/>
                <a:gd name="T5" fmla="*/ 0 h 7"/>
                <a:gd name="T6" fmla="*/ 26 w 26"/>
                <a:gd name="T7" fmla="*/ 7 h 7"/>
                <a:gd name="T8" fmla="*/ 19 w 26"/>
                <a:gd name="T9" fmla="*/ 7 h 7"/>
                <a:gd name="T10" fmla="*/ 9 w 26"/>
                <a:gd name="T11" fmla="*/ 7 h 7"/>
                <a:gd name="T12" fmla="*/ 0 w 2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7">
                  <a:moveTo>
                    <a:pt x="0" y="0"/>
                  </a:moveTo>
                  <a:lnTo>
                    <a:pt x="19" y="0"/>
                  </a:lnTo>
                  <a:lnTo>
                    <a:pt x="26" y="0"/>
                  </a:lnTo>
                  <a:lnTo>
                    <a:pt x="26" y="7"/>
                  </a:lnTo>
                  <a:lnTo>
                    <a:pt x="19" y="7"/>
                  </a:lnTo>
                  <a:lnTo>
                    <a:pt x="9" y="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512">
              <a:extLst>
                <a:ext uri="{FF2B5EF4-FFF2-40B4-BE49-F238E27FC236}">
                  <a16:creationId xmlns:a16="http://schemas.microsoft.com/office/drawing/2014/main" id="{A553E3E1-328E-44DA-9DFD-7A63CED551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0325" y="2126616"/>
              <a:ext cx="25400" cy="41275"/>
            </a:xfrm>
            <a:custGeom>
              <a:avLst/>
              <a:gdLst>
                <a:gd name="T0" fmla="*/ 16 w 16"/>
                <a:gd name="T1" fmla="*/ 26 h 26"/>
                <a:gd name="T2" fmla="*/ 7 w 16"/>
                <a:gd name="T3" fmla="*/ 16 h 26"/>
                <a:gd name="T4" fmla="*/ 0 w 16"/>
                <a:gd name="T5" fmla="*/ 9 h 26"/>
                <a:gd name="T6" fmla="*/ 7 w 16"/>
                <a:gd name="T7" fmla="*/ 9 h 26"/>
                <a:gd name="T8" fmla="*/ 16 w 16"/>
                <a:gd name="T9" fmla="*/ 0 h 26"/>
                <a:gd name="T10" fmla="*/ 16 w 16"/>
                <a:gd name="T11" fmla="*/ 9 h 26"/>
                <a:gd name="T12" fmla="*/ 16 w 16"/>
                <a:gd name="T13" fmla="*/ 16 h 26"/>
                <a:gd name="T14" fmla="*/ 16 w 16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26">
                  <a:moveTo>
                    <a:pt x="16" y="26"/>
                  </a:moveTo>
                  <a:lnTo>
                    <a:pt x="7" y="16"/>
                  </a:lnTo>
                  <a:lnTo>
                    <a:pt x="0" y="9"/>
                  </a:lnTo>
                  <a:lnTo>
                    <a:pt x="7" y="9"/>
                  </a:lnTo>
                  <a:lnTo>
                    <a:pt x="16" y="0"/>
                  </a:lnTo>
                  <a:lnTo>
                    <a:pt x="16" y="9"/>
                  </a:lnTo>
                  <a:lnTo>
                    <a:pt x="16" y="16"/>
                  </a:lnTo>
                  <a:lnTo>
                    <a:pt x="16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513">
              <a:extLst>
                <a:ext uri="{FF2B5EF4-FFF2-40B4-BE49-F238E27FC236}">
                  <a16:creationId xmlns:a16="http://schemas.microsoft.com/office/drawing/2014/main" id="{23A0969C-55D6-4707-9D42-288B4440C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600825" y="1959928"/>
              <a:ext cx="41275" cy="109538"/>
            </a:xfrm>
            <a:custGeom>
              <a:avLst/>
              <a:gdLst>
                <a:gd name="T0" fmla="*/ 0 w 26"/>
                <a:gd name="T1" fmla="*/ 69 h 69"/>
                <a:gd name="T2" fmla="*/ 7 w 26"/>
                <a:gd name="T3" fmla="*/ 62 h 69"/>
                <a:gd name="T4" fmla="*/ 7 w 26"/>
                <a:gd name="T5" fmla="*/ 52 h 69"/>
                <a:gd name="T6" fmla="*/ 0 w 26"/>
                <a:gd name="T7" fmla="*/ 43 h 69"/>
                <a:gd name="T8" fmla="*/ 0 w 26"/>
                <a:gd name="T9" fmla="*/ 36 h 69"/>
                <a:gd name="T10" fmla="*/ 17 w 26"/>
                <a:gd name="T11" fmla="*/ 36 h 69"/>
                <a:gd name="T12" fmla="*/ 17 w 26"/>
                <a:gd name="T13" fmla="*/ 26 h 69"/>
                <a:gd name="T14" fmla="*/ 26 w 26"/>
                <a:gd name="T15" fmla="*/ 0 h 69"/>
                <a:gd name="T16" fmla="*/ 26 w 26"/>
                <a:gd name="T17" fmla="*/ 17 h 69"/>
                <a:gd name="T18" fmla="*/ 26 w 26"/>
                <a:gd name="T19" fmla="*/ 26 h 69"/>
                <a:gd name="T20" fmla="*/ 26 w 26"/>
                <a:gd name="T21" fmla="*/ 36 h 69"/>
                <a:gd name="T22" fmla="*/ 26 w 26"/>
                <a:gd name="T23" fmla="*/ 43 h 69"/>
                <a:gd name="T24" fmla="*/ 17 w 26"/>
                <a:gd name="T25" fmla="*/ 52 h 69"/>
                <a:gd name="T26" fmla="*/ 17 w 26"/>
                <a:gd name="T27" fmla="*/ 62 h 69"/>
                <a:gd name="T28" fmla="*/ 0 w 26"/>
                <a:gd name="T2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69">
                  <a:moveTo>
                    <a:pt x="0" y="69"/>
                  </a:moveTo>
                  <a:lnTo>
                    <a:pt x="7" y="62"/>
                  </a:lnTo>
                  <a:lnTo>
                    <a:pt x="7" y="52"/>
                  </a:lnTo>
                  <a:lnTo>
                    <a:pt x="0" y="43"/>
                  </a:lnTo>
                  <a:lnTo>
                    <a:pt x="0" y="36"/>
                  </a:lnTo>
                  <a:lnTo>
                    <a:pt x="17" y="36"/>
                  </a:lnTo>
                  <a:lnTo>
                    <a:pt x="17" y="26"/>
                  </a:lnTo>
                  <a:lnTo>
                    <a:pt x="26" y="0"/>
                  </a:lnTo>
                  <a:lnTo>
                    <a:pt x="26" y="17"/>
                  </a:lnTo>
                  <a:lnTo>
                    <a:pt x="26" y="26"/>
                  </a:lnTo>
                  <a:lnTo>
                    <a:pt x="26" y="36"/>
                  </a:lnTo>
                  <a:lnTo>
                    <a:pt x="26" y="43"/>
                  </a:lnTo>
                  <a:lnTo>
                    <a:pt x="17" y="52"/>
                  </a:lnTo>
                  <a:lnTo>
                    <a:pt x="17" y="62"/>
                  </a:lnTo>
                  <a:lnTo>
                    <a:pt x="0" y="6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514">
              <a:extLst>
                <a:ext uri="{FF2B5EF4-FFF2-40B4-BE49-F238E27FC236}">
                  <a16:creationId xmlns:a16="http://schemas.microsoft.com/office/drawing/2014/main" id="{D9F3AAA1-2E03-4F80-8656-6BDFA5447CD0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2140903"/>
              <a:ext cx="98425" cy="93663"/>
            </a:xfrm>
            <a:custGeom>
              <a:avLst/>
              <a:gdLst>
                <a:gd name="T0" fmla="*/ 0 w 62"/>
                <a:gd name="T1" fmla="*/ 59 h 59"/>
                <a:gd name="T2" fmla="*/ 10 w 62"/>
                <a:gd name="T3" fmla="*/ 43 h 59"/>
                <a:gd name="T4" fmla="*/ 19 w 62"/>
                <a:gd name="T5" fmla="*/ 33 h 59"/>
                <a:gd name="T6" fmla="*/ 26 w 62"/>
                <a:gd name="T7" fmla="*/ 43 h 59"/>
                <a:gd name="T8" fmla="*/ 26 w 62"/>
                <a:gd name="T9" fmla="*/ 52 h 59"/>
                <a:gd name="T10" fmla="*/ 36 w 62"/>
                <a:gd name="T11" fmla="*/ 43 h 59"/>
                <a:gd name="T12" fmla="*/ 36 w 62"/>
                <a:gd name="T13" fmla="*/ 33 h 59"/>
                <a:gd name="T14" fmla="*/ 45 w 62"/>
                <a:gd name="T15" fmla="*/ 24 h 59"/>
                <a:gd name="T16" fmla="*/ 52 w 62"/>
                <a:gd name="T17" fmla="*/ 24 h 59"/>
                <a:gd name="T18" fmla="*/ 52 w 62"/>
                <a:gd name="T19" fmla="*/ 17 h 59"/>
                <a:gd name="T20" fmla="*/ 62 w 62"/>
                <a:gd name="T21" fmla="*/ 7 h 59"/>
                <a:gd name="T22" fmla="*/ 62 w 62"/>
                <a:gd name="T23" fmla="*/ 0 h 59"/>
                <a:gd name="T24" fmla="*/ 52 w 62"/>
                <a:gd name="T25" fmla="*/ 7 h 59"/>
                <a:gd name="T26" fmla="*/ 45 w 62"/>
                <a:gd name="T27" fmla="*/ 7 h 59"/>
                <a:gd name="T28" fmla="*/ 26 w 62"/>
                <a:gd name="T29" fmla="*/ 7 h 59"/>
                <a:gd name="T30" fmla="*/ 26 w 62"/>
                <a:gd name="T31" fmla="*/ 24 h 59"/>
                <a:gd name="T32" fmla="*/ 19 w 62"/>
                <a:gd name="T33" fmla="*/ 17 h 59"/>
                <a:gd name="T34" fmla="*/ 19 w 62"/>
                <a:gd name="T35" fmla="*/ 7 h 59"/>
                <a:gd name="T36" fmla="*/ 10 w 62"/>
                <a:gd name="T37" fmla="*/ 17 h 59"/>
                <a:gd name="T38" fmla="*/ 10 w 62"/>
                <a:gd name="T39" fmla="*/ 24 h 59"/>
                <a:gd name="T40" fmla="*/ 0 w 62"/>
                <a:gd name="T41" fmla="*/ 43 h 59"/>
                <a:gd name="T42" fmla="*/ 0 w 62"/>
                <a:gd name="T43" fmla="*/ 52 h 59"/>
                <a:gd name="T44" fmla="*/ 0 w 62"/>
                <a:gd name="T4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59">
                  <a:moveTo>
                    <a:pt x="0" y="59"/>
                  </a:moveTo>
                  <a:lnTo>
                    <a:pt x="10" y="43"/>
                  </a:lnTo>
                  <a:lnTo>
                    <a:pt x="19" y="33"/>
                  </a:lnTo>
                  <a:lnTo>
                    <a:pt x="26" y="43"/>
                  </a:lnTo>
                  <a:lnTo>
                    <a:pt x="26" y="52"/>
                  </a:lnTo>
                  <a:lnTo>
                    <a:pt x="36" y="43"/>
                  </a:lnTo>
                  <a:lnTo>
                    <a:pt x="36" y="33"/>
                  </a:lnTo>
                  <a:lnTo>
                    <a:pt x="45" y="24"/>
                  </a:lnTo>
                  <a:lnTo>
                    <a:pt x="52" y="24"/>
                  </a:lnTo>
                  <a:lnTo>
                    <a:pt x="52" y="17"/>
                  </a:lnTo>
                  <a:lnTo>
                    <a:pt x="62" y="7"/>
                  </a:lnTo>
                  <a:lnTo>
                    <a:pt x="62" y="0"/>
                  </a:lnTo>
                  <a:lnTo>
                    <a:pt x="52" y="7"/>
                  </a:lnTo>
                  <a:lnTo>
                    <a:pt x="45" y="7"/>
                  </a:lnTo>
                  <a:lnTo>
                    <a:pt x="26" y="7"/>
                  </a:lnTo>
                  <a:lnTo>
                    <a:pt x="26" y="24"/>
                  </a:lnTo>
                  <a:lnTo>
                    <a:pt x="19" y="17"/>
                  </a:lnTo>
                  <a:lnTo>
                    <a:pt x="19" y="7"/>
                  </a:lnTo>
                  <a:lnTo>
                    <a:pt x="10" y="17"/>
                  </a:lnTo>
                  <a:lnTo>
                    <a:pt x="10" y="24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515">
              <a:extLst>
                <a:ext uri="{FF2B5EF4-FFF2-40B4-BE49-F238E27FC236}">
                  <a16:creationId xmlns:a16="http://schemas.microsoft.com/office/drawing/2014/main" id="{9F8596B7-0327-4C26-969D-A3EB18D3F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3138" y="2767966"/>
              <a:ext cx="41275" cy="41275"/>
            </a:xfrm>
            <a:custGeom>
              <a:avLst/>
              <a:gdLst>
                <a:gd name="T0" fmla="*/ 0 w 26"/>
                <a:gd name="T1" fmla="*/ 17 h 26"/>
                <a:gd name="T2" fmla="*/ 7 w 26"/>
                <a:gd name="T3" fmla="*/ 7 h 26"/>
                <a:gd name="T4" fmla="*/ 17 w 26"/>
                <a:gd name="T5" fmla="*/ 0 h 26"/>
                <a:gd name="T6" fmla="*/ 26 w 26"/>
                <a:gd name="T7" fmla="*/ 7 h 26"/>
                <a:gd name="T8" fmla="*/ 26 w 26"/>
                <a:gd name="T9" fmla="*/ 17 h 26"/>
                <a:gd name="T10" fmla="*/ 7 w 26"/>
                <a:gd name="T11" fmla="*/ 26 h 26"/>
                <a:gd name="T12" fmla="*/ 0 w 26"/>
                <a:gd name="T13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6">
                  <a:moveTo>
                    <a:pt x="0" y="17"/>
                  </a:moveTo>
                  <a:lnTo>
                    <a:pt x="7" y="7"/>
                  </a:lnTo>
                  <a:lnTo>
                    <a:pt x="17" y="0"/>
                  </a:lnTo>
                  <a:lnTo>
                    <a:pt x="26" y="7"/>
                  </a:lnTo>
                  <a:lnTo>
                    <a:pt x="26" y="17"/>
                  </a:lnTo>
                  <a:lnTo>
                    <a:pt x="7" y="26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516">
              <a:extLst>
                <a:ext uri="{FF2B5EF4-FFF2-40B4-BE49-F238E27FC236}">
                  <a16:creationId xmlns:a16="http://schemas.microsoft.com/office/drawing/2014/main" id="{58B1781B-361D-4BC2-9089-585CC881DF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0125" y="2264728"/>
              <a:ext cx="55563" cy="82550"/>
            </a:xfrm>
            <a:custGeom>
              <a:avLst/>
              <a:gdLst>
                <a:gd name="T0" fmla="*/ 26 w 35"/>
                <a:gd name="T1" fmla="*/ 33 h 52"/>
                <a:gd name="T2" fmla="*/ 26 w 35"/>
                <a:gd name="T3" fmla="*/ 26 h 52"/>
                <a:gd name="T4" fmla="*/ 26 w 35"/>
                <a:gd name="T5" fmla="*/ 17 h 52"/>
                <a:gd name="T6" fmla="*/ 35 w 35"/>
                <a:gd name="T7" fmla="*/ 10 h 52"/>
                <a:gd name="T8" fmla="*/ 35 w 35"/>
                <a:gd name="T9" fmla="*/ 0 h 52"/>
                <a:gd name="T10" fmla="*/ 26 w 35"/>
                <a:gd name="T11" fmla="*/ 10 h 52"/>
                <a:gd name="T12" fmla="*/ 16 w 35"/>
                <a:gd name="T13" fmla="*/ 17 h 52"/>
                <a:gd name="T14" fmla="*/ 16 w 35"/>
                <a:gd name="T15" fmla="*/ 10 h 52"/>
                <a:gd name="T16" fmla="*/ 16 w 35"/>
                <a:gd name="T17" fmla="*/ 0 h 52"/>
                <a:gd name="T18" fmla="*/ 0 w 35"/>
                <a:gd name="T19" fmla="*/ 10 h 52"/>
                <a:gd name="T20" fmla="*/ 0 w 35"/>
                <a:gd name="T21" fmla="*/ 17 h 52"/>
                <a:gd name="T22" fmla="*/ 0 w 35"/>
                <a:gd name="T23" fmla="*/ 26 h 52"/>
                <a:gd name="T24" fmla="*/ 16 w 35"/>
                <a:gd name="T25" fmla="*/ 17 h 52"/>
                <a:gd name="T26" fmla="*/ 9 w 35"/>
                <a:gd name="T27" fmla="*/ 33 h 52"/>
                <a:gd name="T28" fmla="*/ 16 w 35"/>
                <a:gd name="T29" fmla="*/ 43 h 52"/>
                <a:gd name="T30" fmla="*/ 16 w 35"/>
                <a:gd name="T31" fmla="*/ 52 h 52"/>
                <a:gd name="T32" fmla="*/ 26 w 35"/>
                <a:gd name="T33" fmla="*/ 3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52">
                  <a:moveTo>
                    <a:pt x="26" y="33"/>
                  </a:moveTo>
                  <a:lnTo>
                    <a:pt x="26" y="26"/>
                  </a:lnTo>
                  <a:lnTo>
                    <a:pt x="26" y="17"/>
                  </a:lnTo>
                  <a:lnTo>
                    <a:pt x="35" y="10"/>
                  </a:lnTo>
                  <a:lnTo>
                    <a:pt x="35" y="0"/>
                  </a:lnTo>
                  <a:lnTo>
                    <a:pt x="26" y="10"/>
                  </a:lnTo>
                  <a:lnTo>
                    <a:pt x="16" y="17"/>
                  </a:lnTo>
                  <a:lnTo>
                    <a:pt x="16" y="10"/>
                  </a:lnTo>
                  <a:lnTo>
                    <a:pt x="16" y="0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0" y="26"/>
                  </a:lnTo>
                  <a:lnTo>
                    <a:pt x="16" y="17"/>
                  </a:lnTo>
                  <a:lnTo>
                    <a:pt x="9" y="33"/>
                  </a:lnTo>
                  <a:lnTo>
                    <a:pt x="16" y="43"/>
                  </a:lnTo>
                  <a:lnTo>
                    <a:pt x="16" y="52"/>
                  </a:lnTo>
                  <a:lnTo>
                    <a:pt x="26" y="3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517">
              <a:extLst>
                <a:ext uri="{FF2B5EF4-FFF2-40B4-BE49-F238E27FC236}">
                  <a16:creationId xmlns:a16="http://schemas.microsoft.com/office/drawing/2014/main" id="{ADA08A01-CF90-4A62-A69F-FD0010C875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4250" y="2415541"/>
              <a:ext cx="30163" cy="41275"/>
            </a:xfrm>
            <a:custGeom>
              <a:avLst/>
              <a:gdLst>
                <a:gd name="T0" fmla="*/ 10 w 19"/>
                <a:gd name="T1" fmla="*/ 26 h 26"/>
                <a:gd name="T2" fmla="*/ 10 w 19"/>
                <a:gd name="T3" fmla="*/ 16 h 26"/>
                <a:gd name="T4" fmla="*/ 0 w 19"/>
                <a:gd name="T5" fmla="*/ 16 h 26"/>
                <a:gd name="T6" fmla="*/ 10 w 19"/>
                <a:gd name="T7" fmla="*/ 7 h 26"/>
                <a:gd name="T8" fmla="*/ 10 w 19"/>
                <a:gd name="T9" fmla="*/ 0 h 26"/>
                <a:gd name="T10" fmla="*/ 0 w 19"/>
                <a:gd name="T11" fmla="*/ 0 h 26"/>
                <a:gd name="T12" fmla="*/ 19 w 19"/>
                <a:gd name="T13" fmla="*/ 7 h 26"/>
                <a:gd name="T14" fmla="*/ 19 w 19"/>
                <a:gd name="T15" fmla="*/ 16 h 26"/>
                <a:gd name="T16" fmla="*/ 10 w 19"/>
                <a:gd name="T17" fmla="*/ 16 h 26"/>
                <a:gd name="T18" fmla="*/ 10 w 19"/>
                <a:gd name="T19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6">
                  <a:moveTo>
                    <a:pt x="10" y="26"/>
                  </a:moveTo>
                  <a:lnTo>
                    <a:pt x="10" y="16"/>
                  </a:lnTo>
                  <a:lnTo>
                    <a:pt x="0" y="16"/>
                  </a:lnTo>
                  <a:lnTo>
                    <a:pt x="10" y="7"/>
                  </a:lnTo>
                  <a:lnTo>
                    <a:pt x="10" y="0"/>
                  </a:lnTo>
                  <a:lnTo>
                    <a:pt x="0" y="0"/>
                  </a:lnTo>
                  <a:lnTo>
                    <a:pt x="19" y="7"/>
                  </a:lnTo>
                  <a:lnTo>
                    <a:pt x="19" y="16"/>
                  </a:lnTo>
                  <a:lnTo>
                    <a:pt x="10" y="16"/>
                  </a:lnTo>
                  <a:lnTo>
                    <a:pt x="10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527">
              <a:extLst>
                <a:ext uri="{FF2B5EF4-FFF2-40B4-BE49-F238E27FC236}">
                  <a16:creationId xmlns:a16="http://schemas.microsoft.com/office/drawing/2014/main" id="{1C16119F-06D9-417C-8677-CAF7AD052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807200" y="3610928"/>
              <a:ext cx="68263" cy="107950"/>
            </a:xfrm>
            <a:custGeom>
              <a:avLst/>
              <a:gdLst>
                <a:gd name="T0" fmla="*/ 0 w 43"/>
                <a:gd name="T1" fmla="*/ 59 h 68"/>
                <a:gd name="T2" fmla="*/ 5 w 43"/>
                <a:gd name="T3" fmla="*/ 42 h 68"/>
                <a:gd name="T4" fmla="*/ 0 w 43"/>
                <a:gd name="T5" fmla="*/ 33 h 68"/>
                <a:gd name="T6" fmla="*/ 0 w 43"/>
                <a:gd name="T7" fmla="*/ 26 h 68"/>
                <a:gd name="T8" fmla="*/ 0 w 43"/>
                <a:gd name="T9" fmla="*/ 16 h 68"/>
                <a:gd name="T10" fmla="*/ 8 w 43"/>
                <a:gd name="T11" fmla="*/ 9 h 68"/>
                <a:gd name="T12" fmla="*/ 17 w 43"/>
                <a:gd name="T13" fmla="*/ 0 h 68"/>
                <a:gd name="T14" fmla="*/ 24 w 43"/>
                <a:gd name="T15" fmla="*/ 9 h 68"/>
                <a:gd name="T16" fmla="*/ 24 w 43"/>
                <a:gd name="T17" fmla="*/ 16 h 68"/>
                <a:gd name="T18" fmla="*/ 34 w 43"/>
                <a:gd name="T19" fmla="*/ 26 h 68"/>
                <a:gd name="T20" fmla="*/ 43 w 43"/>
                <a:gd name="T21" fmla="*/ 33 h 68"/>
                <a:gd name="T22" fmla="*/ 43 w 43"/>
                <a:gd name="T23" fmla="*/ 42 h 68"/>
                <a:gd name="T24" fmla="*/ 43 w 43"/>
                <a:gd name="T25" fmla="*/ 52 h 68"/>
                <a:gd name="T26" fmla="*/ 43 w 43"/>
                <a:gd name="T27" fmla="*/ 59 h 68"/>
                <a:gd name="T28" fmla="*/ 43 w 43"/>
                <a:gd name="T29" fmla="*/ 68 h 68"/>
                <a:gd name="T30" fmla="*/ 34 w 43"/>
                <a:gd name="T31" fmla="*/ 68 h 68"/>
                <a:gd name="T32" fmla="*/ 0 w 43"/>
                <a:gd name="T33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3" h="68">
                  <a:moveTo>
                    <a:pt x="0" y="59"/>
                  </a:moveTo>
                  <a:lnTo>
                    <a:pt x="5" y="42"/>
                  </a:lnTo>
                  <a:lnTo>
                    <a:pt x="0" y="33"/>
                  </a:lnTo>
                  <a:lnTo>
                    <a:pt x="0" y="26"/>
                  </a:lnTo>
                  <a:lnTo>
                    <a:pt x="0" y="16"/>
                  </a:lnTo>
                  <a:lnTo>
                    <a:pt x="8" y="9"/>
                  </a:lnTo>
                  <a:lnTo>
                    <a:pt x="17" y="0"/>
                  </a:lnTo>
                  <a:lnTo>
                    <a:pt x="24" y="9"/>
                  </a:lnTo>
                  <a:lnTo>
                    <a:pt x="24" y="16"/>
                  </a:lnTo>
                  <a:lnTo>
                    <a:pt x="34" y="26"/>
                  </a:lnTo>
                  <a:lnTo>
                    <a:pt x="43" y="33"/>
                  </a:lnTo>
                  <a:lnTo>
                    <a:pt x="43" y="42"/>
                  </a:lnTo>
                  <a:lnTo>
                    <a:pt x="43" y="52"/>
                  </a:lnTo>
                  <a:lnTo>
                    <a:pt x="43" y="59"/>
                  </a:lnTo>
                  <a:lnTo>
                    <a:pt x="43" y="68"/>
                  </a:lnTo>
                  <a:lnTo>
                    <a:pt x="34" y="68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 530">
              <a:extLst>
                <a:ext uri="{FF2B5EF4-FFF2-40B4-BE49-F238E27FC236}">
                  <a16:creationId xmlns:a16="http://schemas.microsoft.com/office/drawing/2014/main" id="{91CA1E00-AF9F-47BE-B878-9668E34C90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345363" y="2891791"/>
              <a:ext cx="71438" cy="68263"/>
            </a:xfrm>
            <a:custGeom>
              <a:avLst/>
              <a:gdLst>
                <a:gd name="T0" fmla="*/ 45 w 45"/>
                <a:gd name="T1" fmla="*/ 43 h 43"/>
                <a:gd name="T2" fmla="*/ 35 w 45"/>
                <a:gd name="T3" fmla="*/ 43 h 43"/>
                <a:gd name="T4" fmla="*/ 19 w 45"/>
                <a:gd name="T5" fmla="*/ 43 h 43"/>
                <a:gd name="T6" fmla="*/ 19 w 45"/>
                <a:gd name="T7" fmla="*/ 36 h 43"/>
                <a:gd name="T8" fmla="*/ 0 w 45"/>
                <a:gd name="T9" fmla="*/ 36 h 43"/>
                <a:gd name="T10" fmla="*/ 0 w 45"/>
                <a:gd name="T11" fmla="*/ 17 h 43"/>
                <a:gd name="T12" fmla="*/ 0 w 45"/>
                <a:gd name="T13" fmla="*/ 10 h 43"/>
                <a:gd name="T14" fmla="*/ 9 w 45"/>
                <a:gd name="T15" fmla="*/ 10 h 43"/>
                <a:gd name="T16" fmla="*/ 9 w 45"/>
                <a:gd name="T17" fmla="*/ 0 h 43"/>
                <a:gd name="T18" fmla="*/ 19 w 45"/>
                <a:gd name="T19" fmla="*/ 10 h 43"/>
                <a:gd name="T20" fmla="*/ 26 w 45"/>
                <a:gd name="T21" fmla="*/ 0 h 43"/>
                <a:gd name="T22" fmla="*/ 35 w 45"/>
                <a:gd name="T23" fmla="*/ 10 h 43"/>
                <a:gd name="T24" fmla="*/ 45 w 45"/>
                <a:gd name="T25" fmla="*/ 10 h 43"/>
                <a:gd name="T26" fmla="*/ 45 w 45"/>
                <a:gd name="T27" fmla="*/ 17 h 43"/>
                <a:gd name="T28" fmla="*/ 45 w 45"/>
                <a:gd name="T29" fmla="*/ 26 h 43"/>
                <a:gd name="T30" fmla="*/ 45 w 45"/>
                <a:gd name="T31" fmla="*/ 36 h 43"/>
                <a:gd name="T32" fmla="*/ 45 w 45"/>
                <a:gd name="T33" fmla="*/ 43 h 43"/>
                <a:gd name="T34" fmla="*/ 35 w 45"/>
                <a:gd name="T35" fmla="*/ 43 h 43"/>
                <a:gd name="T36" fmla="*/ 45 w 45"/>
                <a:gd name="T37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5" h="43">
                  <a:moveTo>
                    <a:pt x="45" y="43"/>
                  </a:moveTo>
                  <a:lnTo>
                    <a:pt x="35" y="43"/>
                  </a:lnTo>
                  <a:lnTo>
                    <a:pt x="19" y="43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7"/>
                  </a:lnTo>
                  <a:lnTo>
                    <a:pt x="0" y="10"/>
                  </a:lnTo>
                  <a:lnTo>
                    <a:pt x="9" y="10"/>
                  </a:lnTo>
                  <a:lnTo>
                    <a:pt x="9" y="0"/>
                  </a:lnTo>
                  <a:lnTo>
                    <a:pt x="19" y="10"/>
                  </a:lnTo>
                  <a:lnTo>
                    <a:pt x="26" y="0"/>
                  </a:lnTo>
                  <a:lnTo>
                    <a:pt x="35" y="10"/>
                  </a:lnTo>
                  <a:lnTo>
                    <a:pt x="45" y="10"/>
                  </a:lnTo>
                  <a:lnTo>
                    <a:pt x="45" y="17"/>
                  </a:lnTo>
                  <a:lnTo>
                    <a:pt x="45" y="26"/>
                  </a:lnTo>
                  <a:lnTo>
                    <a:pt x="45" y="36"/>
                  </a:lnTo>
                  <a:lnTo>
                    <a:pt x="45" y="43"/>
                  </a:lnTo>
                  <a:lnTo>
                    <a:pt x="35" y="43"/>
                  </a:lnTo>
                  <a:lnTo>
                    <a:pt x="45" y="43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532">
              <a:extLst>
                <a:ext uri="{FF2B5EF4-FFF2-40B4-BE49-F238E27FC236}">
                  <a16:creationId xmlns:a16="http://schemas.microsoft.com/office/drawing/2014/main" id="{09DAEE69-853F-4865-B5EA-DE42EA526979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3150" y="3001328"/>
              <a:ext cx="53975" cy="41275"/>
            </a:xfrm>
            <a:custGeom>
              <a:avLst/>
              <a:gdLst>
                <a:gd name="T0" fmla="*/ 26 w 34"/>
                <a:gd name="T1" fmla="*/ 26 h 26"/>
                <a:gd name="T2" fmla="*/ 17 w 34"/>
                <a:gd name="T3" fmla="*/ 26 h 26"/>
                <a:gd name="T4" fmla="*/ 8 w 34"/>
                <a:gd name="T5" fmla="*/ 17 h 26"/>
                <a:gd name="T6" fmla="*/ 0 w 34"/>
                <a:gd name="T7" fmla="*/ 10 h 26"/>
                <a:gd name="T8" fmla="*/ 0 w 34"/>
                <a:gd name="T9" fmla="*/ 0 h 26"/>
                <a:gd name="T10" fmla="*/ 8 w 34"/>
                <a:gd name="T11" fmla="*/ 0 h 26"/>
                <a:gd name="T12" fmla="*/ 17 w 34"/>
                <a:gd name="T13" fmla="*/ 0 h 26"/>
                <a:gd name="T14" fmla="*/ 17 w 34"/>
                <a:gd name="T15" fmla="*/ 10 h 26"/>
                <a:gd name="T16" fmla="*/ 26 w 34"/>
                <a:gd name="T17" fmla="*/ 10 h 26"/>
                <a:gd name="T18" fmla="*/ 34 w 34"/>
                <a:gd name="T19" fmla="*/ 17 h 26"/>
                <a:gd name="T20" fmla="*/ 34 w 34"/>
                <a:gd name="T21" fmla="*/ 26 h 26"/>
                <a:gd name="T22" fmla="*/ 26 w 34"/>
                <a:gd name="T23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" h="26">
                  <a:moveTo>
                    <a:pt x="26" y="26"/>
                  </a:moveTo>
                  <a:lnTo>
                    <a:pt x="17" y="26"/>
                  </a:lnTo>
                  <a:lnTo>
                    <a:pt x="8" y="17"/>
                  </a:lnTo>
                  <a:lnTo>
                    <a:pt x="0" y="10"/>
                  </a:lnTo>
                  <a:lnTo>
                    <a:pt x="0" y="0"/>
                  </a:lnTo>
                  <a:lnTo>
                    <a:pt x="8" y="0"/>
                  </a:lnTo>
                  <a:lnTo>
                    <a:pt x="17" y="0"/>
                  </a:lnTo>
                  <a:lnTo>
                    <a:pt x="17" y="10"/>
                  </a:lnTo>
                  <a:lnTo>
                    <a:pt x="26" y="10"/>
                  </a:lnTo>
                  <a:lnTo>
                    <a:pt x="34" y="17"/>
                  </a:lnTo>
                  <a:lnTo>
                    <a:pt x="34" y="26"/>
                  </a:lnTo>
                  <a:lnTo>
                    <a:pt x="26" y="26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533">
              <a:extLst>
                <a:ext uri="{FF2B5EF4-FFF2-40B4-BE49-F238E27FC236}">
                  <a16:creationId xmlns:a16="http://schemas.microsoft.com/office/drawing/2014/main" id="{E521D18B-2DC9-4059-A765-88E6974472A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1413" y="3001328"/>
              <a:ext cx="26988" cy="41275"/>
            </a:xfrm>
            <a:custGeom>
              <a:avLst/>
              <a:gdLst>
                <a:gd name="T0" fmla="*/ 0 w 17"/>
                <a:gd name="T1" fmla="*/ 17 h 26"/>
                <a:gd name="T2" fmla="*/ 0 w 17"/>
                <a:gd name="T3" fmla="*/ 10 h 26"/>
                <a:gd name="T4" fmla="*/ 0 w 17"/>
                <a:gd name="T5" fmla="*/ 0 h 26"/>
                <a:gd name="T6" fmla="*/ 10 w 17"/>
                <a:gd name="T7" fmla="*/ 10 h 26"/>
                <a:gd name="T8" fmla="*/ 17 w 17"/>
                <a:gd name="T9" fmla="*/ 10 h 26"/>
                <a:gd name="T10" fmla="*/ 17 w 17"/>
                <a:gd name="T11" fmla="*/ 17 h 26"/>
                <a:gd name="T12" fmla="*/ 10 w 17"/>
                <a:gd name="T13" fmla="*/ 17 h 26"/>
                <a:gd name="T14" fmla="*/ 10 w 17"/>
                <a:gd name="T15" fmla="*/ 26 h 26"/>
                <a:gd name="T16" fmla="*/ 0 w 17"/>
                <a:gd name="T1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26">
                  <a:moveTo>
                    <a:pt x="0" y="17"/>
                  </a:moveTo>
                  <a:lnTo>
                    <a:pt x="0" y="10"/>
                  </a:lnTo>
                  <a:lnTo>
                    <a:pt x="0" y="0"/>
                  </a:lnTo>
                  <a:lnTo>
                    <a:pt x="10" y="10"/>
                  </a:lnTo>
                  <a:lnTo>
                    <a:pt x="17" y="10"/>
                  </a:lnTo>
                  <a:lnTo>
                    <a:pt x="17" y="17"/>
                  </a:lnTo>
                  <a:lnTo>
                    <a:pt x="10" y="17"/>
                  </a:lnTo>
                  <a:lnTo>
                    <a:pt x="10" y="26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537">
              <a:extLst>
                <a:ext uri="{FF2B5EF4-FFF2-40B4-BE49-F238E27FC236}">
                  <a16:creationId xmlns:a16="http://schemas.microsoft.com/office/drawing/2014/main" id="{0D31C86C-9B37-4699-8E19-394103DB31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613" y="5346066"/>
              <a:ext cx="192088" cy="139700"/>
            </a:xfrm>
            <a:custGeom>
              <a:avLst/>
              <a:gdLst>
                <a:gd name="T0" fmla="*/ 0 w 121"/>
                <a:gd name="T1" fmla="*/ 10 h 88"/>
                <a:gd name="T2" fmla="*/ 17 w 121"/>
                <a:gd name="T3" fmla="*/ 0 h 88"/>
                <a:gd name="T4" fmla="*/ 27 w 121"/>
                <a:gd name="T5" fmla="*/ 0 h 88"/>
                <a:gd name="T6" fmla="*/ 36 w 121"/>
                <a:gd name="T7" fmla="*/ 10 h 88"/>
                <a:gd name="T8" fmla="*/ 43 w 121"/>
                <a:gd name="T9" fmla="*/ 17 h 88"/>
                <a:gd name="T10" fmla="*/ 62 w 121"/>
                <a:gd name="T11" fmla="*/ 17 h 88"/>
                <a:gd name="T12" fmla="*/ 79 w 121"/>
                <a:gd name="T13" fmla="*/ 26 h 88"/>
                <a:gd name="T14" fmla="*/ 88 w 121"/>
                <a:gd name="T15" fmla="*/ 36 h 88"/>
                <a:gd name="T16" fmla="*/ 95 w 121"/>
                <a:gd name="T17" fmla="*/ 36 h 88"/>
                <a:gd name="T18" fmla="*/ 105 w 121"/>
                <a:gd name="T19" fmla="*/ 43 h 88"/>
                <a:gd name="T20" fmla="*/ 105 w 121"/>
                <a:gd name="T21" fmla="*/ 52 h 88"/>
                <a:gd name="T22" fmla="*/ 114 w 121"/>
                <a:gd name="T23" fmla="*/ 59 h 88"/>
                <a:gd name="T24" fmla="*/ 121 w 121"/>
                <a:gd name="T25" fmla="*/ 69 h 88"/>
                <a:gd name="T26" fmla="*/ 121 w 121"/>
                <a:gd name="T27" fmla="*/ 88 h 88"/>
                <a:gd name="T28" fmla="*/ 114 w 121"/>
                <a:gd name="T29" fmla="*/ 88 h 88"/>
                <a:gd name="T30" fmla="*/ 105 w 121"/>
                <a:gd name="T31" fmla="*/ 69 h 88"/>
                <a:gd name="T32" fmla="*/ 95 w 121"/>
                <a:gd name="T33" fmla="*/ 59 h 88"/>
                <a:gd name="T34" fmla="*/ 88 w 121"/>
                <a:gd name="T35" fmla="*/ 52 h 88"/>
                <a:gd name="T36" fmla="*/ 69 w 121"/>
                <a:gd name="T37" fmla="*/ 43 h 88"/>
                <a:gd name="T38" fmla="*/ 62 w 121"/>
                <a:gd name="T39" fmla="*/ 36 h 88"/>
                <a:gd name="T40" fmla="*/ 43 w 121"/>
                <a:gd name="T41" fmla="*/ 26 h 88"/>
                <a:gd name="T42" fmla="*/ 36 w 121"/>
                <a:gd name="T43" fmla="*/ 17 h 88"/>
                <a:gd name="T44" fmla="*/ 17 w 121"/>
                <a:gd name="T45" fmla="*/ 17 h 88"/>
                <a:gd name="T46" fmla="*/ 10 w 121"/>
                <a:gd name="T47" fmla="*/ 17 h 88"/>
                <a:gd name="T48" fmla="*/ 0 w 121"/>
                <a:gd name="T49" fmla="*/ 1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1" h="88">
                  <a:moveTo>
                    <a:pt x="0" y="10"/>
                  </a:moveTo>
                  <a:lnTo>
                    <a:pt x="17" y="0"/>
                  </a:lnTo>
                  <a:lnTo>
                    <a:pt x="27" y="0"/>
                  </a:lnTo>
                  <a:lnTo>
                    <a:pt x="36" y="10"/>
                  </a:lnTo>
                  <a:lnTo>
                    <a:pt x="43" y="17"/>
                  </a:lnTo>
                  <a:lnTo>
                    <a:pt x="62" y="17"/>
                  </a:lnTo>
                  <a:lnTo>
                    <a:pt x="79" y="26"/>
                  </a:lnTo>
                  <a:lnTo>
                    <a:pt x="88" y="36"/>
                  </a:lnTo>
                  <a:lnTo>
                    <a:pt x="95" y="36"/>
                  </a:lnTo>
                  <a:lnTo>
                    <a:pt x="105" y="43"/>
                  </a:lnTo>
                  <a:lnTo>
                    <a:pt x="105" y="52"/>
                  </a:lnTo>
                  <a:lnTo>
                    <a:pt x="114" y="59"/>
                  </a:lnTo>
                  <a:lnTo>
                    <a:pt x="121" y="69"/>
                  </a:lnTo>
                  <a:lnTo>
                    <a:pt x="121" y="88"/>
                  </a:lnTo>
                  <a:lnTo>
                    <a:pt x="114" y="88"/>
                  </a:lnTo>
                  <a:lnTo>
                    <a:pt x="105" y="69"/>
                  </a:lnTo>
                  <a:lnTo>
                    <a:pt x="95" y="59"/>
                  </a:lnTo>
                  <a:lnTo>
                    <a:pt x="88" y="52"/>
                  </a:lnTo>
                  <a:lnTo>
                    <a:pt x="69" y="43"/>
                  </a:lnTo>
                  <a:lnTo>
                    <a:pt x="62" y="36"/>
                  </a:lnTo>
                  <a:lnTo>
                    <a:pt x="43" y="26"/>
                  </a:lnTo>
                  <a:lnTo>
                    <a:pt x="36" y="17"/>
                  </a:lnTo>
                  <a:lnTo>
                    <a:pt x="17" y="17"/>
                  </a:lnTo>
                  <a:lnTo>
                    <a:pt x="10" y="17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538">
              <a:extLst>
                <a:ext uri="{FF2B5EF4-FFF2-40B4-BE49-F238E27FC236}">
                  <a16:creationId xmlns:a16="http://schemas.microsoft.com/office/drawing/2014/main" id="{7B949C82-D294-44F3-9FF2-78F292D87DAC}"/>
                </a:ext>
              </a:extLst>
            </p:cNvPr>
            <p:cNvSpPr>
              <a:spLocks/>
            </p:cNvSpPr>
            <p:nvPr/>
          </p:nvSpPr>
          <p:spPr bwMode="auto">
            <a:xfrm>
              <a:off x="8043863" y="901066"/>
              <a:ext cx="71438" cy="82550"/>
            </a:xfrm>
            <a:custGeom>
              <a:avLst/>
              <a:gdLst>
                <a:gd name="T0" fmla="*/ 9 w 45"/>
                <a:gd name="T1" fmla="*/ 52 h 52"/>
                <a:gd name="T2" fmla="*/ 19 w 45"/>
                <a:gd name="T3" fmla="*/ 43 h 52"/>
                <a:gd name="T4" fmla="*/ 19 w 45"/>
                <a:gd name="T5" fmla="*/ 33 h 52"/>
                <a:gd name="T6" fmla="*/ 28 w 45"/>
                <a:gd name="T7" fmla="*/ 33 h 52"/>
                <a:gd name="T8" fmla="*/ 35 w 45"/>
                <a:gd name="T9" fmla="*/ 33 h 52"/>
                <a:gd name="T10" fmla="*/ 45 w 45"/>
                <a:gd name="T11" fmla="*/ 9 h 52"/>
                <a:gd name="T12" fmla="*/ 35 w 45"/>
                <a:gd name="T13" fmla="*/ 0 h 52"/>
                <a:gd name="T14" fmla="*/ 28 w 45"/>
                <a:gd name="T15" fmla="*/ 0 h 52"/>
                <a:gd name="T16" fmla="*/ 28 w 45"/>
                <a:gd name="T17" fmla="*/ 9 h 52"/>
                <a:gd name="T18" fmla="*/ 19 w 45"/>
                <a:gd name="T19" fmla="*/ 9 h 52"/>
                <a:gd name="T20" fmla="*/ 9 w 45"/>
                <a:gd name="T21" fmla="*/ 9 h 52"/>
                <a:gd name="T22" fmla="*/ 9 w 45"/>
                <a:gd name="T23" fmla="*/ 16 h 52"/>
                <a:gd name="T24" fmla="*/ 9 w 45"/>
                <a:gd name="T25" fmla="*/ 26 h 52"/>
                <a:gd name="T26" fmla="*/ 0 w 45"/>
                <a:gd name="T27" fmla="*/ 33 h 52"/>
                <a:gd name="T28" fmla="*/ 9 w 45"/>
                <a:gd name="T29" fmla="*/ 43 h 52"/>
                <a:gd name="T30" fmla="*/ 9 w 45"/>
                <a:gd name="T31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5" h="52">
                  <a:moveTo>
                    <a:pt x="9" y="52"/>
                  </a:moveTo>
                  <a:lnTo>
                    <a:pt x="19" y="43"/>
                  </a:lnTo>
                  <a:lnTo>
                    <a:pt x="19" y="33"/>
                  </a:lnTo>
                  <a:lnTo>
                    <a:pt x="28" y="33"/>
                  </a:lnTo>
                  <a:lnTo>
                    <a:pt x="35" y="33"/>
                  </a:lnTo>
                  <a:lnTo>
                    <a:pt x="45" y="9"/>
                  </a:lnTo>
                  <a:lnTo>
                    <a:pt x="35" y="0"/>
                  </a:lnTo>
                  <a:lnTo>
                    <a:pt x="28" y="0"/>
                  </a:lnTo>
                  <a:lnTo>
                    <a:pt x="28" y="9"/>
                  </a:lnTo>
                  <a:lnTo>
                    <a:pt x="19" y="9"/>
                  </a:lnTo>
                  <a:lnTo>
                    <a:pt x="9" y="9"/>
                  </a:lnTo>
                  <a:lnTo>
                    <a:pt x="9" y="16"/>
                  </a:lnTo>
                  <a:lnTo>
                    <a:pt x="9" y="26"/>
                  </a:lnTo>
                  <a:lnTo>
                    <a:pt x="0" y="33"/>
                  </a:lnTo>
                  <a:lnTo>
                    <a:pt x="9" y="43"/>
                  </a:lnTo>
                  <a:lnTo>
                    <a:pt x="9" y="5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548">
              <a:extLst>
                <a:ext uri="{FF2B5EF4-FFF2-40B4-BE49-F238E27FC236}">
                  <a16:creationId xmlns:a16="http://schemas.microsoft.com/office/drawing/2014/main" id="{6837BFAC-59AE-40D1-AD05-0A72D10A13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3625" y="4612641"/>
              <a:ext cx="55563" cy="49213"/>
            </a:xfrm>
            <a:custGeom>
              <a:avLst/>
              <a:gdLst>
                <a:gd name="T0" fmla="*/ 0 w 35"/>
                <a:gd name="T1" fmla="*/ 12 h 31"/>
                <a:gd name="T2" fmla="*/ 4 w 35"/>
                <a:gd name="T3" fmla="*/ 5 h 31"/>
                <a:gd name="T4" fmla="*/ 12 w 35"/>
                <a:gd name="T5" fmla="*/ 3 h 31"/>
                <a:gd name="T6" fmla="*/ 21 w 35"/>
                <a:gd name="T7" fmla="*/ 0 h 31"/>
                <a:gd name="T8" fmla="*/ 28 w 35"/>
                <a:gd name="T9" fmla="*/ 0 h 31"/>
                <a:gd name="T10" fmla="*/ 35 w 35"/>
                <a:gd name="T11" fmla="*/ 12 h 31"/>
                <a:gd name="T12" fmla="*/ 35 w 35"/>
                <a:gd name="T13" fmla="*/ 24 h 31"/>
                <a:gd name="T14" fmla="*/ 28 w 35"/>
                <a:gd name="T15" fmla="*/ 31 h 31"/>
                <a:gd name="T16" fmla="*/ 21 w 35"/>
                <a:gd name="T17" fmla="*/ 31 h 31"/>
                <a:gd name="T18" fmla="*/ 14 w 35"/>
                <a:gd name="T19" fmla="*/ 29 h 31"/>
                <a:gd name="T20" fmla="*/ 4 w 35"/>
                <a:gd name="T21" fmla="*/ 27 h 31"/>
                <a:gd name="T22" fmla="*/ 0 w 35"/>
                <a:gd name="T23" fmla="*/ 1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31">
                  <a:moveTo>
                    <a:pt x="0" y="12"/>
                  </a:moveTo>
                  <a:lnTo>
                    <a:pt x="4" y="5"/>
                  </a:lnTo>
                  <a:lnTo>
                    <a:pt x="12" y="3"/>
                  </a:lnTo>
                  <a:lnTo>
                    <a:pt x="21" y="0"/>
                  </a:lnTo>
                  <a:lnTo>
                    <a:pt x="28" y="0"/>
                  </a:lnTo>
                  <a:lnTo>
                    <a:pt x="35" y="12"/>
                  </a:lnTo>
                  <a:lnTo>
                    <a:pt x="35" y="24"/>
                  </a:lnTo>
                  <a:lnTo>
                    <a:pt x="28" y="31"/>
                  </a:lnTo>
                  <a:lnTo>
                    <a:pt x="21" y="31"/>
                  </a:lnTo>
                  <a:lnTo>
                    <a:pt x="14" y="29"/>
                  </a:lnTo>
                  <a:lnTo>
                    <a:pt x="4" y="27"/>
                  </a:lnTo>
                  <a:lnTo>
                    <a:pt x="0" y="12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549">
              <a:extLst>
                <a:ext uri="{FF2B5EF4-FFF2-40B4-BE49-F238E27FC236}">
                  <a16:creationId xmlns:a16="http://schemas.microsoft.com/office/drawing/2014/main" id="{726E79F7-1EB2-405C-B855-1CB5AF5441A7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9938" y="4084003"/>
              <a:ext cx="33338" cy="49213"/>
            </a:xfrm>
            <a:custGeom>
              <a:avLst/>
              <a:gdLst>
                <a:gd name="T0" fmla="*/ 12 w 21"/>
                <a:gd name="T1" fmla="*/ 0 h 31"/>
                <a:gd name="T2" fmla="*/ 21 w 21"/>
                <a:gd name="T3" fmla="*/ 9 h 31"/>
                <a:gd name="T4" fmla="*/ 21 w 21"/>
                <a:gd name="T5" fmla="*/ 21 h 31"/>
                <a:gd name="T6" fmla="*/ 19 w 21"/>
                <a:gd name="T7" fmla="*/ 28 h 31"/>
                <a:gd name="T8" fmla="*/ 12 w 21"/>
                <a:gd name="T9" fmla="*/ 31 h 31"/>
                <a:gd name="T10" fmla="*/ 5 w 21"/>
                <a:gd name="T11" fmla="*/ 31 h 31"/>
                <a:gd name="T12" fmla="*/ 0 w 21"/>
                <a:gd name="T13" fmla="*/ 21 h 31"/>
                <a:gd name="T14" fmla="*/ 0 w 21"/>
                <a:gd name="T15" fmla="*/ 7 h 31"/>
                <a:gd name="T16" fmla="*/ 9 w 21"/>
                <a:gd name="T17" fmla="*/ 2 h 31"/>
                <a:gd name="T18" fmla="*/ 12 w 21"/>
                <a:gd name="T19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" h="31">
                  <a:moveTo>
                    <a:pt x="12" y="0"/>
                  </a:moveTo>
                  <a:lnTo>
                    <a:pt x="21" y="9"/>
                  </a:lnTo>
                  <a:lnTo>
                    <a:pt x="21" y="21"/>
                  </a:lnTo>
                  <a:lnTo>
                    <a:pt x="19" y="28"/>
                  </a:lnTo>
                  <a:lnTo>
                    <a:pt x="12" y="31"/>
                  </a:lnTo>
                  <a:lnTo>
                    <a:pt x="5" y="31"/>
                  </a:lnTo>
                  <a:lnTo>
                    <a:pt x="0" y="21"/>
                  </a:lnTo>
                  <a:lnTo>
                    <a:pt x="0" y="7"/>
                  </a:lnTo>
                  <a:lnTo>
                    <a:pt x="9" y="2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9525">
              <a:solidFill>
                <a:schemeClr val="tx1">
                  <a:lumMod val="10000"/>
                  <a:lumOff val="90000"/>
                </a:schemeClr>
              </a:solidFill>
              <a:round/>
              <a:headEnd/>
              <a:tailEnd/>
            </a:ln>
          </p:spPr>
          <p:txBody>
            <a:bodyPr vert="horz" wrap="square" lIns="51299" tIns="25649" rIns="51299" bIns="2564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513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80" name="Freeform 493">
            <a:extLst>
              <a:ext uri="{FF2B5EF4-FFF2-40B4-BE49-F238E27FC236}">
                <a16:creationId xmlns:a16="http://schemas.microsoft.com/office/drawing/2014/main" id="{7FC105AE-F53B-4080-B7BD-ED88B8004720}"/>
              </a:ext>
            </a:extLst>
          </p:cNvPr>
          <p:cNvSpPr>
            <a:spLocks/>
          </p:cNvSpPr>
          <p:nvPr/>
        </p:nvSpPr>
        <p:spPr bwMode="auto">
          <a:xfrm>
            <a:off x="2661747" y="2897985"/>
            <a:ext cx="242245" cy="256494"/>
          </a:xfrm>
          <a:custGeom>
            <a:avLst/>
            <a:gdLst>
              <a:gd name="T0" fmla="*/ 9 w 272"/>
              <a:gd name="T1" fmla="*/ 42 h 288"/>
              <a:gd name="T2" fmla="*/ 16 w 272"/>
              <a:gd name="T3" fmla="*/ 66 h 288"/>
              <a:gd name="T4" fmla="*/ 33 w 272"/>
              <a:gd name="T5" fmla="*/ 85 h 288"/>
              <a:gd name="T6" fmla="*/ 59 w 272"/>
              <a:gd name="T7" fmla="*/ 92 h 288"/>
              <a:gd name="T8" fmla="*/ 68 w 272"/>
              <a:gd name="T9" fmla="*/ 111 h 288"/>
              <a:gd name="T10" fmla="*/ 94 w 272"/>
              <a:gd name="T11" fmla="*/ 118 h 288"/>
              <a:gd name="T12" fmla="*/ 102 w 272"/>
              <a:gd name="T13" fmla="*/ 144 h 288"/>
              <a:gd name="T14" fmla="*/ 111 w 272"/>
              <a:gd name="T15" fmla="*/ 179 h 288"/>
              <a:gd name="T16" fmla="*/ 102 w 272"/>
              <a:gd name="T17" fmla="*/ 203 h 288"/>
              <a:gd name="T18" fmla="*/ 111 w 272"/>
              <a:gd name="T19" fmla="*/ 220 h 288"/>
              <a:gd name="T20" fmla="*/ 102 w 272"/>
              <a:gd name="T21" fmla="*/ 239 h 288"/>
              <a:gd name="T22" fmla="*/ 102 w 272"/>
              <a:gd name="T23" fmla="*/ 272 h 288"/>
              <a:gd name="T24" fmla="*/ 118 w 272"/>
              <a:gd name="T25" fmla="*/ 281 h 288"/>
              <a:gd name="T26" fmla="*/ 135 w 272"/>
              <a:gd name="T27" fmla="*/ 288 h 288"/>
              <a:gd name="T28" fmla="*/ 161 w 272"/>
              <a:gd name="T29" fmla="*/ 288 h 288"/>
              <a:gd name="T30" fmla="*/ 180 w 272"/>
              <a:gd name="T31" fmla="*/ 272 h 288"/>
              <a:gd name="T32" fmla="*/ 196 w 272"/>
              <a:gd name="T33" fmla="*/ 272 h 288"/>
              <a:gd name="T34" fmla="*/ 206 w 272"/>
              <a:gd name="T35" fmla="*/ 281 h 288"/>
              <a:gd name="T36" fmla="*/ 213 w 272"/>
              <a:gd name="T37" fmla="*/ 262 h 288"/>
              <a:gd name="T38" fmla="*/ 206 w 272"/>
              <a:gd name="T39" fmla="*/ 246 h 288"/>
              <a:gd name="T40" fmla="*/ 213 w 272"/>
              <a:gd name="T41" fmla="*/ 229 h 288"/>
              <a:gd name="T42" fmla="*/ 222 w 272"/>
              <a:gd name="T43" fmla="*/ 239 h 288"/>
              <a:gd name="T44" fmla="*/ 246 w 272"/>
              <a:gd name="T45" fmla="*/ 229 h 288"/>
              <a:gd name="T46" fmla="*/ 265 w 272"/>
              <a:gd name="T47" fmla="*/ 220 h 288"/>
              <a:gd name="T48" fmla="*/ 272 w 272"/>
              <a:gd name="T49" fmla="*/ 203 h 288"/>
              <a:gd name="T50" fmla="*/ 255 w 272"/>
              <a:gd name="T51" fmla="*/ 194 h 288"/>
              <a:gd name="T52" fmla="*/ 239 w 272"/>
              <a:gd name="T53" fmla="*/ 179 h 288"/>
              <a:gd name="T54" fmla="*/ 248 w 272"/>
              <a:gd name="T55" fmla="*/ 170 h 288"/>
              <a:gd name="T56" fmla="*/ 232 w 272"/>
              <a:gd name="T57" fmla="*/ 153 h 288"/>
              <a:gd name="T58" fmla="*/ 222 w 272"/>
              <a:gd name="T59" fmla="*/ 135 h 288"/>
              <a:gd name="T60" fmla="*/ 213 w 272"/>
              <a:gd name="T61" fmla="*/ 127 h 288"/>
              <a:gd name="T62" fmla="*/ 206 w 272"/>
              <a:gd name="T63" fmla="*/ 111 h 288"/>
              <a:gd name="T64" fmla="*/ 189 w 272"/>
              <a:gd name="T65" fmla="*/ 92 h 288"/>
              <a:gd name="T66" fmla="*/ 180 w 272"/>
              <a:gd name="T67" fmla="*/ 85 h 288"/>
              <a:gd name="T68" fmla="*/ 180 w 272"/>
              <a:gd name="T69" fmla="*/ 49 h 288"/>
              <a:gd name="T70" fmla="*/ 173 w 272"/>
              <a:gd name="T71" fmla="*/ 42 h 288"/>
              <a:gd name="T72" fmla="*/ 154 w 272"/>
              <a:gd name="T73" fmla="*/ 23 h 288"/>
              <a:gd name="T74" fmla="*/ 137 w 272"/>
              <a:gd name="T75" fmla="*/ 23 h 288"/>
              <a:gd name="T76" fmla="*/ 120 w 272"/>
              <a:gd name="T77" fmla="*/ 16 h 288"/>
              <a:gd name="T78" fmla="*/ 104 w 272"/>
              <a:gd name="T79" fmla="*/ 16 h 288"/>
              <a:gd name="T80" fmla="*/ 76 w 272"/>
              <a:gd name="T81" fmla="*/ 7 h 288"/>
              <a:gd name="T82" fmla="*/ 52 w 272"/>
              <a:gd name="T83" fmla="*/ 0 h 288"/>
              <a:gd name="T84" fmla="*/ 35 w 272"/>
              <a:gd name="T85" fmla="*/ 16 h 288"/>
              <a:gd name="T86" fmla="*/ 0 w 272"/>
              <a:gd name="T87" fmla="*/ 23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72" h="288">
                <a:moveTo>
                  <a:pt x="0" y="23"/>
                </a:moveTo>
                <a:lnTo>
                  <a:pt x="9" y="42"/>
                </a:lnTo>
                <a:lnTo>
                  <a:pt x="16" y="42"/>
                </a:lnTo>
                <a:lnTo>
                  <a:pt x="16" y="66"/>
                </a:lnTo>
                <a:lnTo>
                  <a:pt x="26" y="75"/>
                </a:lnTo>
                <a:lnTo>
                  <a:pt x="33" y="85"/>
                </a:lnTo>
                <a:lnTo>
                  <a:pt x="52" y="92"/>
                </a:lnTo>
                <a:lnTo>
                  <a:pt x="59" y="92"/>
                </a:lnTo>
                <a:lnTo>
                  <a:pt x="59" y="101"/>
                </a:lnTo>
                <a:lnTo>
                  <a:pt x="68" y="111"/>
                </a:lnTo>
                <a:lnTo>
                  <a:pt x="76" y="111"/>
                </a:lnTo>
                <a:lnTo>
                  <a:pt x="94" y="118"/>
                </a:lnTo>
                <a:lnTo>
                  <a:pt x="94" y="127"/>
                </a:lnTo>
                <a:lnTo>
                  <a:pt x="102" y="144"/>
                </a:lnTo>
                <a:lnTo>
                  <a:pt x="102" y="161"/>
                </a:lnTo>
                <a:lnTo>
                  <a:pt x="111" y="179"/>
                </a:lnTo>
                <a:lnTo>
                  <a:pt x="111" y="194"/>
                </a:lnTo>
                <a:lnTo>
                  <a:pt x="102" y="203"/>
                </a:lnTo>
                <a:lnTo>
                  <a:pt x="102" y="213"/>
                </a:lnTo>
                <a:lnTo>
                  <a:pt x="111" y="220"/>
                </a:lnTo>
                <a:lnTo>
                  <a:pt x="102" y="229"/>
                </a:lnTo>
                <a:lnTo>
                  <a:pt x="102" y="239"/>
                </a:lnTo>
                <a:lnTo>
                  <a:pt x="102" y="255"/>
                </a:lnTo>
                <a:lnTo>
                  <a:pt x="102" y="272"/>
                </a:lnTo>
                <a:lnTo>
                  <a:pt x="102" y="281"/>
                </a:lnTo>
                <a:lnTo>
                  <a:pt x="118" y="281"/>
                </a:lnTo>
                <a:lnTo>
                  <a:pt x="128" y="288"/>
                </a:lnTo>
                <a:lnTo>
                  <a:pt x="135" y="288"/>
                </a:lnTo>
                <a:lnTo>
                  <a:pt x="144" y="288"/>
                </a:lnTo>
                <a:lnTo>
                  <a:pt x="161" y="288"/>
                </a:lnTo>
                <a:lnTo>
                  <a:pt x="170" y="281"/>
                </a:lnTo>
                <a:lnTo>
                  <a:pt x="180" y="272"/>
                </a:lnTo>
                <a:lnTo>
                  <a:pt x="187" y="262"/>
                </a:lnTo>
                <a:lnTo>
                  <a:pt x="196" y="272"/>
                </a:lnTo>
                <a:lnTo>
                  <a:pt x="206" y="272"/>
                </a:lnTo>
                <a:lnTo>
                  <a:pt x="206" y="281"/>
                </a:lnTo>
                <a:lnTo>
                  <a:pt x="213" y="281"/>
                </a:lnTo>
                <a:lnTo>
                  <a:pt x="213" y="262"/>
                </a:lnTo>
                <a:lnTo>
                  <a:pt x="213" y="255"/>
                </a:lnTo>
                <a:lnTo>
                  <a:pt x="206" y="246"/>
                </a:lnTo>
                <a:lnTo>
                  <a:pt x="206" y="239"/>
                </a:lnTo>
                <a:lnTo>
                  <a:pt x="213" y="229"/>
                </a:lnTo>
                <a:lnTo>
                  <a:pt x="222" y="229"/>
                </a:lnTo>
                <a:lnTo>
                  <a:pt x="222" y="239"/>
                </a:lnTo>
                <a:lnTo>
                  <a:pt x="232" y="229"/>
                </a:lnTo>
                <a:lnTo>
                  <a:pt x="246" y="229"/>
                </a:lnTo>
                <a:lnTo>
                  <a:pt x="255" y="220"/>
                </a:lnTo>
                <a:lnTo>
                  <a:pt x="265" y="220"/>
                </a:lnTo>
                <a:lnTo>
                  <a:pt x="272" y="220"/>
                </a:lnTo>
                <a:lnTo>
                  <a:pt x="272" y="203"/>
                </a:lnTo>
                <a:lnTo>
                  <a:pt x="265" y="194"/>
                </a:lnTo>
                <a:lnTo>
                  <a:pt x="255" y="194"/>
                </a:lnTo>
                <a:lnTo>
                  <a:pt x="239" y="187"/>
                </a:lnTo>
                <a:lnTo>
                  <a:pt x="239" y="179"/>
                </a:lnTo>
                <a:lnTo>
                  <a:pt x="246" y="179"/>
                </a:lnTo>
                <a:lnTo>
                  <a:pt x="248" y="170"/>
                </a:lnTo>
                <a:lnTo>
                  <a:pt x="239" y="161"/>
                </a:lnTo>
                <a:lnTo>
                  <a:pt x="232" y="153"/>
                </a:lnTo>
                <a:lnTo>
                  <a:pt x="222" y="144"/>
                </a:lnTo>
                <a:lnTo>
                  <a:pt x="222" y="135"/>
                </a:lnTo>
                <a:lnTo>
                  <a:pt x="222" y="127"/>
                </a:lnTo>
                <a:lnTo>
                  <a:pt x="213" y="127"/>
                </a:lnTo>
                <a:lnTo>
                  <a:pt x="206" y="127"/>
                </a:lnTo>
                <a:lnTo>
                  <a:pt x="206" y="111"/>
                </a:lnTo>
                <a:lnTo>
                  <a:pt x="196" y="92"/>
                </a:lnTo>
                <a:lnTo>
                  <a:pt x="189" y="92"/>
                </a:lnTo>
                <a:lnTo>
                  <a:pt x="180" y="92"/>
                </a:lnTo>
                <a:lnTo>
                  <a:pt x="180" y="85"/>
                </a:lnTo>
                <a:lnTo>
                  <a:pt x="180" y="66"/>
                </a:lnTo>
                <a:lnTo>
                  <a:pt x="180" y="49"/>
                </a:lnTo>
                <a:lnTo>
                  <a:pt x="173" y="49"/>
                </a:lnTo>
                <a:lnTo>
                  <a:pt x="173" y="42"/>
                </a:lnTo>
                <a:lnTo>
                  <a:pt x="173" y="33"/>
                </a:lnTo>
                <a:lnTo>
                  <a:pt x="154" y="23"/>
                </a:lnTo>
                <a:lnTo>
                  <a:pt x="154" y="33"/>
                </a:lnTo>
                <a:lnTo>
                  <a:pt x="137" y="23"/>
                </a:lnTo>
                <a:lnTo>
                  <a:pt x="130" y="16"/>
                </a:lnTo>
                <a:lnTo>
                  <a:pt x="120" y="16"/>
                </a:lnTo>
                <a:lnTo>
                  <a:pt x="111" y="23"/>
                </a:lnTo>
                <a:lnTo>
                  <a:pt x="104" y="16"/>
                </a:lnTo>
                <a:lnTo>
                  <a:pt x="94" y="7"/>
                </a:lnTo>
                <a:lnTo>
                  <a:pt x="76" y="7"/>
                </a:lnTo>
                <a:lnTo>
                  <a:pt x="76" y="0"/>
                </a:lnTo>
                <a:lnTo>
                  <a:pt x="52" y="0"/>
                </a:lnTo>
                <a:lnTo>
                  <a:pt x="42" y="7"/>
                </a:lnTo>
                <a:lnTo>
                  <a:pt x="35" y="16"/>
                </a:lnTo>
                <a:lnTo>
                  <a:pt x="9" y="23"/>
                </a:lnTo>
                <a:lnTo>
                  <a:pt x="0" y="2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1" name="Freeform 498">
            <a:extLst>
              <a:ext uri="{FF2B5EF4-FFF2-40B4-BE49-F238E27FC236}">
                <a16:creationId xmlns:a16="http://schemas.microsoft.com/office/drawing/2014/main" id="{CF9524E1-AFD6-49AE-AC09-BDF9B8E5FCA4}"/>
              </a:ext>
            </a:extLst>
          </p:cNvPr>
          <p:cNvSpPr>
            <a:spLocks/>
          </p:cNvSpPr>
          <p:nvPr/>
        </p:nvSpPr>
        <p:spPr bwMode="auto">
          <a:xfrm>
            <a:off x="420095" y="3013765"/>
            <a:ext cx="791748" cy="666173"/>
          </a:xfrm>
          <a:custGeom>
            <a:avLst/>
            <a:gdLst>
              <a:gd name="T0" fmla="*/ 518 w 889"/>
              <a:gd name="T1" fmla="*/ 154 h 748"/>
              <a:gd name="T2" fmla="*/ 466 w 889"/>
              <a:gd name="T3" fmla="*/ 137 h 748"/>
              <a:gd name="T4" fmla="*/ 404 w 889"/>
              <a:gd name="T5" fmla="*/ 111 h 748"/>
              <a:gd name="T6" fmla="*/ 362 w 889"/>
              <a:gd name="T7" fmla="*/ 92 h 748"/>
              <a:gd name="T8" fmla="*/ 300 w 889"/>
              <a:gd name="T9" fmla="*/ 66 h 748"/>
              <a:gd name="T10" fmla="*/ 250 w 889"/>
              <a:gd name="T11" fmla="*/ 49 h 748"/>
              <a:gd name="T12" fmla="*/ 198 w 889"/>
              <a:gd name="T13" fmla="*/ 16 h 748"/>
              <a:gd name="T14" fmla="*/ 163 w 889"/>
              <a:gd name="T15" fmla="*/ 0 h 748"/>
              <a:gd name="T16" fmla="*/ 146 w 889"/>
              <a:gd name="T17" fmla="*/ 16 h 748"/>
              <a:gd name="T18" fmla="*/ 111 w 889"/>
              <a:gd name="T19" fmla="*/ 16 h 748"/>
              <a:gd name="T20" fmla="*/ 68 w 889"/>
              <a:gd name="T21" fmla="*/ 26 h 748"/>
              <a:gd name="T22" fmla="*/ 75 w 889"/>
              <a:gd name="T23" fmla="*/ 49 h 748"/>
              <a:gd name="T24" fmla="*/ 68 w 889"/>
              <a:gd name="T25" fmla="*/ 59 h 748"/>
              <a:gd name="T26" fmla="*/ 68 w 889"/>
              <a:gd name="T27" fmla="*/ 92 h 748"/>
              <a:gd name="T28" fmla="*/ 49 w 889"/>
              <a:gd name="T29" fmla="*/ 111 h 748"/>
              <a:gd name="T30" fmla="*/ 94 w 889"/>
              <a:gd name="T31" fmla="*/ 128 h 748"/>
              <a:gd name="T32" fmla="*/ 111 w 889"/>
              <a:gd name="T33" fmla="*/ 154 h 748"/>
              <a:gd name="T34" fmla="*/ 153 w 889"/>
              <a:gd name="T35" fmla="*/ 170 h 748"/>
              <a:gd name="T36" fmla="*/ 180 w 889"/>
              <a:gd name="T37" fmla="*/ 180 h 748"/>
              <a:gd name="T38" fmla="*/ 198 w 889"/>
              <a:gd name="T39" fmla="*/ 206 h 748"/>
              <a:gd name="T40" fmla="*/ 206 w 889"/>
              <a:gd name="T41" fmla="*/ 232 h 748"/>
              <a:gd name="T42" fmla="*/ 180 w 889"/>
              <a:gd name="T43" fmla="*/ 248 h 748"/>
              <a:gd name="T44" fmla="*/ 153 w 889"/>
              <a:gd name="T45" fmla="*/ 274 h 748"/>
              <a:gd name="T46" fmla="*/ 137 w 889"/>
              <a:gd name="T47" fmla="*/ 317 h 748"/>
              <a:gd name="T48" fmla="*/ 120 w 889"/>
              <a:gd name="T49" fmla="*/ 343 h 748"/>
              <a:gd name="T50" fmla="*/ 85 w 889"/>
              <a:gd name="T51" fmla="*/ 386 h 748"/>
              <a:gd name="T52" fmla="*/ 75 w 889"/>
              <a:gd name="T53" fmla="*/ 421 h 748"/>
              <a:gd name="T54" fmla="*/ 59 w 889"/>
              <a:gd name="T55" fmla="*/ 464 h 748"/>
              <a:gd name="T56" fmla="*/ 42 w 889"/>
              <a:gd name="T57" fmla="*/ 497 h 748"/>
              <a:gd name="T58" fmla="*/ 33 w 889"/>
              <a:gd name="T59" fmla="*/ 523 h 748"/>
              <a:gd name="T60" fmla="*/ 7 w 889"/>
              <a:gd name="T61" fmla="*/ 542 h 748"/>
              <a:gd name="T62" fmla="*/ 16 w 889"/>
              <a:gd name="T63" fmla="*/ 584 h 748"/>
              <a:gd name="T64" fmla="*/ 59 w 889"/>
              <a:gd name="T65" fmla="*/ 627 h 748"/>
              <a:gd name="T66" fmla="*/ 75 w 889"/>
              <a:gd name="T67" fmla="*/ 653 h 748"/>
              <a:gd name="T68" fmla="*/ 59 w 889"/>
              <a:gd name="T69" fmla="*/ 705 h 748"/>
              <a:gd name="T70" fmla="*/ 101 w 889"/>
              <a:gd name="T71" fmla="*/ 731 h 748"/>
              <a:gd name="T72" fmla="*/ 153 w 889"/>
              <a:gd name="T73" fmla="*/ 705 h 748"/>
              <a:gd name="T74" fmla="*/ 222 w 889"/>
              <a:gd name="T75" fmla="*/ 705 h 748"/>
              <a:gd name="T76" fmla="*/ 300 w 889"/>
              <a:gd name="T77" fmla="*/ 731 h 748"/>
              <a:gd name="T78" fmla="*/ 362 w 889"/>
              <a:gd name="T79" fmla="*/ 738 h 748"/>
              <a:gd name="T80" fmla="*/ 388 w 889"/>
              <a:gd name="T81" fmla="*/ 731 h 748"/>
              <a:gd name="T82" fmla="*/ 430 w 889"/>
              <a:gd name="T83" fmla="*/ 696 h 748"/>
              <a:gd name="T84" fmla="*/ 499 w 889"/>
              <a:gd name="T85" fmla="*/ 686 h 748"/>
              <a:gd name="T86" fmla="*/ 525 w 889"/>
              <a:gd name="T87" fmla="*/ 644 h 748"/>
              <a:gd name="T88" fmla="*/ 577 w 889"/>
              <a:gd name="T89" fmla="*/ 610 h 748"/>
              <a:gd name="T90" fmla="*/ 567 w 889"/>
              <a:gd name="T91" fmla="*/ 558 h 748"/>
              <a:gd name="T92" fmla="*/ 620 w 889"/>
              <a:gd name="T93" fmla="*/ 497 h 748"/>
              <a:gd name="T94" fmla="*/ 681 w 889"/>
              <a:gd name="T95" fmla="*/ 454 h 748"/>
              <a:gd name="T96" fmla="*/ 690 w 889"/>
              <a:gd name="T97" fmla="*/ 438 h 748"/>
              <a:gd name="T98" fmla="*/ 759 w 889"/>
              <a:gd name="T99" fmla="*/ 428 h 748"/>
              <a:gd name="T100" fmla="*/ 811 w 889"/>
              <a:gd name="T101" fmla="*/ 421 h 748"/>
              <a:gd name="T102" fmla="*/ 863 w 889"/>
              <a:gd name="T103" fmla="*/ 402 h 748"/>
              <a:gd name="T104" fmla="*/ 889 w 889"/>
              <a:gd name="T105" fmla="*/ 360 h 748"/>
              <a:gd name="T106" fmla="*/ 863 w 889"/>
              <a:gd name="T107" fmla="*/ 334 h 748"/>
              <a:gd name="T108" fmla="*/ 811 w 889"/>
              <a:gd name="T109" fmla="*/ 326 h 748"/>
              <a:gd name="T110" fmla="*/ 769 w 889"/>
              <a:gd name="T111" fmla="*/ 307 h 748"/>
              <a:gd name="T112" fmla="*/ 733 w 889"/>
              <a:gd name="T113" fmla="*/ 284 h 748"/>
              <a:gd name="T114" fmla="*/ 681 w 889"/>
              <a:gd name="T115" fmla="*/ 265 h 748"/>
              <a:gd name="T116" fmla="*/ 620 w 889"/>
              <a:gd name="T117" fmla="*/ 222 h 748"/>
              <a:gd name="T118" fmla="*/ 586 w 889"/>
              <a:gd name="T119" fmla="*/ 196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89" h="748">
                <a:moveTo>
                  <a:pt x="567" y="170"/>
                </a:moveTo>
                <a:lnTo>
                  <a:pt x="560" y="170"/>
                </a:lnTo>
                <a:lnTo>
                  <a:pt x="551" y="163"/>
                </a:lnTo>
                <a:lnTo>
                  <a:pt x="534" y="163"/>
                </a:lnTo>
                <a:lnTo>
                  <a:pt x="518" y="154"/>
                </a:lnTo>
                <a:lnTo>
                  <a:pt x="508" y="144"/>
                </a:lnTo>
                <a:lnTo>
                  <a:pt x="499" y="144"/>
                </a:lnTo>
                <a:lnTo>
                  <a:pt x="489" y="144"/>
                </a:lnTo>
                <a:lnTo>
                  <a:pt x="473" y="144"/>
                </a:lnTo>
                <a:lnTo>
                  <a:pt x="466" y="137"/>
                </a:lnTo>
                <a:lnTo>
                  <a:pt x="456" y="120"/>
                </a:lnTo>
                <a:lnTo>
                  <a:pt x="440" y="120"/>
                </a:lnTo>
                <a:lnTo>
                  <a:pt x="430" y="111"/>
                </a:lnTo>
                <a:lnTo>
                  <a:pt x="423" y="111"/>
                </a:lnTo>
                <a:lnTo>
                  <a:pt x="404" y="111"/>
                </a:lnTo>
                <a:lnTo>
                  <a:pt x="395" y="111"/>
                </a:lnTo>
                <a:lnTo>
                  <a:pt x="388" y="102"/>
                </a:lnTo>
                <a:lnTo>
                  <a:pt x="378" y="102"/>
                </a:lnTo>
                <a:lnTo>
                  <a:pt x="371" y="102"/>
                </a:lnTo>
                <a:lnTo>
                  <a:pt x="362" y="92"/>
                </a:lnTo>
                <a:lnTo>
                  <a:pt x="352" y="85"/>
                </a:lnTo>
                <a:lnTo>
                  <a:pt x="345" y="85"/>
                </a:lnTo>
                <a:lnTo>
                  <a:pt x="326" y="76"/>
                </a:lnTo>
                <a:lnTo>
                  <a:pt x="317" y="76"/>
                </a:lnTo>
                <a:lnTo>
                  <a:pt x="300" y="66"/>
                </a:lnTo>
                <a:lnTo>
                  <a:pt x="300" y="59"/>
                </a:lnTo>
                <a:lnTo>
                  <a:pt x="284" y="59"/>
                </a:lnTo>
                <a:lnTo>
                  <a:pt x="274" y="49"/>
                </a:lnTo>
                <a:lnTo>
                  <a:pt x="267" y="49"/>
                </a:lnTo>
                <a:lnTo>
                  <a:pt x="250" y="49"/>
                </a:lnTo>
                <a:lnTo>
                  <a:pt x="241" y="42"/>
                </a:lnTo>
                <a:lnTo>
                  <a:pt x="232" y="33"/>
                </a:lnTo>
                <a:lnTo>
                  <a:pt x="215" y="42"/>
                </a:lnTo>
                <a:lnTo>
                  <a:pt x="206" y="26"/>
                </a:lnTo>
                <a:lnTo>
                  <a:pt x="198" y="16"/>
                </a:lnTo>
                <a:lnTo>
                  <a:pt x="198" y="7"/>
                </a:lnTo>
                <a:lnTo>
                  <a:pt x="198" y="0"/>
                </a:lnTo>
                <a:lnTo>
                  <a:pt x="180" y="7"/>
                </a:lnTo>
                <a:lnTo>
                  <a:pt x="172" y="7"/>
                </a:lnTo>
                <a:lnTo>
                  <a:pt x="163" y="0"/>
                </a:lnTo>
                <a:lnTo>
                  <a:pt x="163" y="7"/>
                </a:lnTo>
                <a:lnTo>
                  <a:pt x="153" y="7"/>
                </a:lnTo>
                <a:lnTo>
                  <a:pt x="146" y="7"/>
                </a:lnTo>
                <a:lnTo>
                  <a:pt x="137" y="7"/>
                </a:lnTo>
                <a:lnTo>
                  <a:pt x="146" y="16"/>
                </a:lnTo>
                <a:lnTo>
                  <a:pt x="137" y="26"/>
                </a:lnTo>
                <a:lnTo>
                  <a:pt x="127" y="33"/>
                </a:lnTo>
                <a:lnTo>
                  <a:pt x="127" y="26"/>
                </a:lnTo>
                <a:lnTo>
                  <a:pt x="120" y="16"/>
                </a:lnTo>
                <a:lnTo>
                  <a:pt x="111" y="16"/>
                </a:lnTo>
                <a:lnTo>
                  <a:pt x="101" y="16"/>
                </a:lnTo>
                <a:lnTo>
                  <a:pt x="94" y="7"/>
                </a:lnTo>
                <a:lnTo>
                  <a:pt x="85" y="26"/>
                </a:lnTo>
                <a:lnTo>
                  <a:pt x="75" y="16"/>
                </a:lnTo>
                <a:lnTo>
                  <a:pt x="68" y="26"/>
                </a:lnTo>
                <a:lnTo>
                  <a:pt x="59" y="33"/>
                </a:lnTo>
                <a:lnTo>
                  <a:pt x="68" y="42"/>
                </a:lnTo>
                <a:lnTo>
                  <a:pt x="68" y="49"/>
                </a:lnTo>
                <a:lnTo>
                  <a:pt x="75" y="42"/>
                </a:lnTo>
                <a:lnTo>
                  <a:pt x="75" y="49"/>
                </a:lnTo>
                <a:lnTo>
                  <a:pt x="68" y="59"/>
                </a:lnTo>
                <a:lnTo>
                  <a:pt x="59" y="59"/>
                </a:lnTo>
                <a:lnTo>
                  <a:pt x="59" y="66"/>
                </a:lnTo>
                <a:lnTo>
                  <a:pt x="68" y="66"/>
                </a:lnTo>
                <a:lnTo>
                  <a:pt x="68" y="59"/>
                </a:lnTo>
                <a:lnTo>
                  <a:pt x="85" y="59"/>
                </a:lnTo>
                <a:lnTo>
                  <a:pt x="85" y="66"/>
                </a:lnTo>
                <a:lnTo>
                  <a:pt x="75" y="76"/>
                </a:lnTo>
                <a:lnTo>
                  <a:pt x="75" y="85"/>
                </a:lnTo>
                <a:lnTo>
                  <a:pt x="68" y="92"/>
                </a:lnTo>
                <a:lnTo>
                  <a:pt x="75" y="92"/>
                </a:lnTo>
                <a:lnTo>
                  <a:pt x="75" y="102"/>
                </a:lnTo>
                <a:lnTo>
                  <a:pt x="68" y="111"/>
                </a:lnTo>
                <a:lnTo>
                  <a:pt x="59" y="102"/>
                </a:lnTo>
                <a:lnTo>
                  <a:pt x="49" y="111"/>
                </a:lnTo>
                <a:lnTo>
                  <a:pt x="49" y="128"/>
                </a:lnTo>
                <a:lnTo>
                  <a:pt x="68" y="128"/>
                </a:lnTo>
                <a:lnTo>
                  <a:pt x="75" y="128"/>
                </a:lnTo>
                <a:lnTo>
                  <a:pt x="75" y="120"/>
                </a:lnTo>
                <a:lnTo>
                  <a:pt x="94" y="128"/>
                </a:lnTo>
                <a:lnTo>
                  <a:pt x="101" y="128"/>
                </a:lnTo>
                <a:lnTo>
                  <a:pt x="101" y="137"/>
                </a:lnTo>
                <a:lnTo>
                  <a:pt x="101" y="144"/>
                </a:lnTo>
                <a:lnTo>
                  <a:pt x="101" y="154"/>
                </a:lnTo>
                <a:lnTo>
                  <a:pt x="111" y="154"/>
                </a:lnTo>
                <a:lnTo>
                  <a:pt x="120" y="154"/>
                </a:lnTo>
                <a:lnTo>
                  <a:pt x="127" y="154"/>
                </a:lnTo>
                <a:lnTo>
                  <a:pt x="137" y="163"/>
                </a:lnTo>
                <a:lnTo>
                  <a:pt x="146" y="163"/>
                </a:lnTo>
                <a:lnTo>
                  <a:pt x="153" y="170"/>
                </a:lnTo>
                <a:lnTo>
                  <a:pt x="163" y="180"/>
                </a:lnTo>
                <a:lnTo>
                  <a:pt x="163" y="170"/>
                </a:lnTo>
                <a:lnTo>
                  <a:pt x="172" y="170"/>
                </a:lnTo>
                <a:lnTo>
                  <a:pt x="180" y="170"/>
                </a:lnTo>
                <a:lnTo>
                  <a:pt x="180" y="180"/>
                </a:lnTo>
                <a:lnTo>
                  <a:pt x="189" y="180"/>
                </a:lnTo>
                <a:lnTo>
                  <a:pt x="198" y="180"/>
                </a:lnTo>
                <a:lnTo>
                  <a:pt x="206" y="189"/>
                </a:lnTo>
                <a:lnTo>
                  <a:pt x="198" y="196"/>
                </a:lnTo>
                <a:lnTo>
                  <a:pt x="198" y="206"/>
                </a:lnTo>
                <a:lnTo>
                  <a:pt x="198" y="215"/>
                </a:lnTo>
                <a:lnTo>
                  <a:pt x="206" y="215"/>
                </a:lnTo>
                <a:lnTo>
                  <a:pt x="215" y="222"/>
                </a:lnTo>
                <a:lnTo>
                  <a:pt x="215" y="232"/>
                </a:lnTo>
                <a:lnTo>
                  <a:pt x="206" y="232"/>
                </a:lnTo>
                <a:lnTo>
                  <a:pt x="206" y="239"/>
                </a:lnTo>
                <a:lnTo>
                  <a:pt x="198" y="239"/>
                </a:lnTo>
                <a:lnTo>
                  <a:pt x="189" y="239"/>
                </a:lnTo>
                <a:lnTo>
                  <a:pt x="189" y="248"/>
                </a:lnTo>
                <a:lnTo>
                  <a:pt x="180" y="248"/>
                </a:lnTo>
                <a:lnTo>
                  <a:pt x="172" y="248"/>
                </a:lnTo>
                <a:lnTo>
                  <a:pt x="172" y="258"/>
                </a:lnTo>
                <a:lnTo>
                  <a:pt x="163" y="258"/>
                </a:lnTo>
                <a:lnTo>
                  <a:pt x="153" y="265"/>
                </a:lnTo>
                <a:lnTo>
                  <a:pt x="153" y="274"/>
                </a:lnTo>
                <a:lnTo>
                  <a:pt x="146" y="284"/>
                </a:lnTo>
                <a:lnTo>
                  <a:pt x="146" y="291"/>
                </a:lnTo>
                <a:lnTo>
                  <a:pt x="137" y="300"/>
                </a:lnTo>
                <a:lnTo>
                  <a:pt x="137" y="307"/>
                </a:lnTo>
                <a:lnTo>
                  <a:pt x="137" y="317"/>
                </a:lnTo>
                <a:lnTo>
                  <a:pt x="137" y="326"/>
                </a:lnTo>
                <a:lnTo>
                  <a:pt x="137" y="334"/>
                </a:lnTo>
                <a:lnTo>
                  <a:pt x="127" y="334"/>
                </a:lnTo>
                <a:lnTo>
                  <a:pt x="120" y="334"/>
                </a:lnTo>
                <a:lnTo>
                  <a:pt x="120" y="343"/>
                </a:lnTo>
                <a:lnTo>
                  <a:pt x="101" y="360"/>
                </a:lnTo>
                <a:lnTo>
                  <a:pt x="101" y="369"/>
                </a:lnTo>
                <a:lnTo>
                  <a:pt x="94" y="378"/>
                </a:lnTo>
                <a:lnTo>
                  <a:pt x="94" y="386"/>
                </a:lnTo>
                <a:lnTo>
                  <a:pt x="85" y="386"/>
                </a:lnTo>
                <a:lnTo>
                  <a:pt x="68" y="378"/>
                </a:lnTo>
                <a:lnTo>
                  <a:pt x="68" y="395"/>
                </a:lnTo>
                <a:lnTo>
                  <a:pt x="68" y="402"/>
                </a:lnTo>
                <a:lnTo>
                  <a:pt x="68" y="412"/>
                </a:lnTo>
                <a:lnTo>
                  <a:pt x="75" y="421"/>
                </a:lnTo>
                <a:lnTo>
                  <a:pt x="75" y="428"/>
                </a:lnTo>
                <a:lnTo>
                  <a:pt x="75" y="438"/>
                </a:lnTo>
                <a:lnTo>
                  <a:pt x="68" y="447"/>
                </a:lnTo>
                <a:lnTo>
                  <a:pt x="59" y="454"/>
                </a:lnTo>
                <a:lnTo>
                  <a:pt x="59" y="464"/>
                </a:lnTo>
                <a:lnTo>
                  <a:pt x="49" y="464"/>
                </a:lnTo>
                <a:lnTo>
                  <a:pt x="42" y="471"/>
                </a:lnTo>
                <a:lnTo>
                  <a:pt x="42" y="480"/>
                </a:lnTo>
                <a:lnTo>
                  <a:pt x="33" y="490"/>
                </a:lnTo>
                <a:lnTo>
                  <a:pt x="42" y="497"/>
                </a:lnTo>
                <a:lnTo>
                  <a:pt x="49" y="497"/>
                </a:lnTo>
                <a:lnTo>
                  <a:pt x="49" y="506"/>
                </a:lnTo>
                <a:lnTo>
                  <a:pt x="49" y="516"/>
                </a:lnTo>
                <a:lnTo>
                  <a:pt x="42" y="516"/>
                </a:lnTo>
                <a:lnTo>
                  <a:pt x="33" y="523"/>
                </a:lnTo>
                <a:lnTo>
                  <a:pt x="26" y="523"/>
                </a:lnTo>
                <a:lnTo>
                  <a:pt x="16" y="523"/>
                </a:lnTo>
                <a:lnTo>
                  <a:pt x="16" y="532"/>
                </a:lnTo>
                <a:lnTo>
                  <a:pt x="7" y="532"/>
                </a:lnTo>
                <a:lnTo>
                  <a:pt x="7" y="542"/>
                </a:lnTo>
                <a:lnTo>
                  <a:pt x="0" y="549"/>
                </a:lnTo>
                <a:lnTo>
                  <a:pt x="0" y="565"/>
                </a:lnTo>
                <a:lnTo>
                  <a:pt x="0" y="584"/>
                </a:lnTo>
                <a:lnTo>
                  <a:pt x="7" y="584"/>
                </a:lnTo>
                <a:lnTo>
                  <a:pt x="16" y="584"/>
                </a:lnTo>
                <a:lnTo>
                  <a:pt x="26" y="594"/>
                </a:lnTo>
                <a:lnTo>
                  <a:pt x="33" y="601"/>
                </a:lnTo>
                <a:lnTo>
                  <a:pt x="42" y="610"/>
                </a:lnTo>
                <a:lnTo>
                  <a:pt x="42" y="618"/>
                </a:lnTo>
                <a:lnTo>
                  <a:pt x="59" y="627"/>
                </a:lnTo>
                <a:lnTo>
                  <a:pt x="68" y="636"/>
                </a:lnTo>
                <a:lnTo>
                  <a:pt x="68" y="644"/>
                </a:lnTo>
                <a:lnTo>
                  <a:pt x="59" y="653"/>
                </a:lnTo>
                <a:lnTo>
                  <a:pt x="68" y="653"/>
                </a:lnTo>
                <a:lnTo>
                  <a:pt x="75" y="653"/>
                </a:lnTo>
                <a:lnTo>
                  <a:pt x="68" y="670"/>
                </a:lnTo>
                <a:lnTo>
                  <a:pt x="68" y="679"/>
                </a:lnTo>
                <a:lnTo>
                  <a:pt x="49" y="679"/>
                </a:lnTo>
                <a:lnTo>
                  <a:pt x="59" y="686"/>
                </a:lnTo>
                <a:lnTo>
                  <a:pt x="59" y="705"/>
                </a:lnTo>
                <a:lnTo>
                  <a:pt x="68" y="712"/>
                </a:lnTo>
                <a:lnTo>
                  <a:pt x="75" y="712"/>
                </a:lnTo>
                <a:lnTo>
                  <a:pt x="85" y="722"/>
                </a:lnTo>
                <a:lnTo>
                  <a:pt x="94" y="738"/>
                </a:lnTo>
                <a:lnTo>
                  <a:pt x="101" y="731"/>
                </a:lnTo>
                <a:lnTo>
                  <a:pt x="101" y="722"/>
                </a:lnTo>
                <a:lnTo>
                  <a:pt x="120" y="712"/>
                </a:lnTo>
                <a:lnTo>
                  <a:pt x="137" y="712"/>
                </a:lnTo>
                <a:lnTo>
                  <a:pt x="146" y="705"/>
                </a:lnTo>
                <a:lnTo>
                  <a:pt x="153" y="705"/>
                </a:lnTo>
                <a:lnTo>
                  <a:pt x="172" y="712"/>
                </a:lnTo>
                <a:lnTo>
                  <a:pt x="180" y="712"/>
                </a:lnTo>
                <a:lnTo>
                  <a:pt x="189" y="696"/>
                </a:lnTo>
                <a:lnTo>
                  <a:pt x="206" y="696"/>
                </a:lnTo>
                <a:lnTo>
                  <a:pt x="222" y="705"/>
                </a:lnTo>
                <a:lnTo>
                  <a:pt x="232" y="712"/>
                </a:lnTo>
                <a:lnTo>
                  <a:pt x="250" y="712"/>
                </a:lnTo>
                <a:lnTo>
                  <a:pt x="258" y="731"/>
                </a:lnTo>
                <a:lnTo>
                  <a:pt x="274" y="731"/>
                </a:lnTo>
                <a:lnTo>
                  <a:pt x="300" y="731"/>
                </a:lnTo>
                <a:lnTo>
                  <a:pt x="310" y="731"/>
                </a:lnTo>
                <a:lnTo>
                  <a:pt x="326" y="738"/>
                </a:lnTo>
                <a:lnTo>
                  <a:pt x="336" y="731"/>
                </a:lnTo>
                <a:lnTo>
                  <a:pt x="352" y="731"/>
                </a:lnTo>
                <a:lnTo>
                  <a:pt x="362" y="738"/>
                </a:lnTo>
                <a:lnTo>
                  <a:pt x="371" y="738"/>
                </a:lnTo>
                <a:lnTo>
                  <a:pt x="371" y="748"/>
                </a:lnTo>
                <a:lnTo>
                  <a:pt x="378" y="748"/>
                </a:lnTo>
                <a:lnTo>
                  <a:pt x="388" y="738"/>
                </a:lnTo>
                <a:lnTo>
                  <a:pt x="388" y="731"/>
                </a:lnTo>
                <a:lnTo>
                  <a:pt x="388" y="722"/>
                </a:lnTo>
                <a:lnTo>
                  <a:pt x="404" y="712"/>
                </a:lnTo>
                <a:lnTo>
                  <a:pt x="404" y="705"/>
                </a:lnTo>
                <a:lnTo>
                  <a:pt x="423" y="705"/>
                </a:lnTo>
                <a:lnTo>
                  <a:pt x="430" y="696"/>
                </a:lnTo>
                <a:lnTo>
                  <a:pt x="447" y="696"/>
                </a:lnTo>
                <a:lnTo>
                  <a:pt x="456" y="696"/>
                </a:lnTo>
                <a:lnTo>
                  <a:pt x="473" y="705"/>
                </a:lnTo>
                <a:lnTo>
                  <a:pt x="482" y="696"/>
                </a:lnTo>
                <a:lnTo>
                  <a:pt x="499" y="686"/>
                </a:lnTo>
                <a:lnTo>
                  <a:pt x="499" y="670"/>
                </a:lnTo>
                <a:lnTo>
                  <a:pt x="508" y="663"/>
                </a:lnTo>
                <a:lnTo>
                  <a:pt x="518" y="663"/>
                </a:lnTo>
                <a:lnTo>
                  <a:pt x="525" y="653"/>
                </a:lnTo>
                <a:lnTo>
                  <a:pt x="525" y="644"/>
                </a:lnTo>
                <a:lnTo>
                  <a:pt x="544" y="636"/>
                </a:lnTo>
                <a:lnTo>
                  <a:pt x="551" y="636"/>
                </a:lnTo>
                <a:lnTo>
                  <a:pt x="567" y="636"/>
                </a:lnTo>
                <a:lnTo>
                  <a:pt x="586" y="618"/>
                </a:lnTo>
                <a:lnTo>
                  <a:pt x="577" y="610"/>
                </a:lnTo>
                <a:lnTo>
                  <a:pt x="577" y="601"/>
                </a:lnTo>
                <a:lnTo>
                  <a:pt x="567" y="594"/>
                </a:lnTo>
                <a:lnTo>
                  <a:pt x="567" y="584"/>
                </a:lnTo>
                <a:lnTo>
                  <a:pt x="567" y="575"/>
                </a:lnTo>
                <a:lnTo>
                  <a:pt x="567" y="558"/>
                </a:lnTo>
                <a:lnTo>
                  <a:pt x="567" y="542"/>
                </a:lnTo>
                <a:lnTo>
                  <a:pt x="577" y="532"/>
                </a:lnTo>
                <a:lnTo>
                  <a:pt x="586" y="523"/>
                </a:lnTo>
                <a:lnTo>
                  <a:pt x="603" y="516"/>
                </a:lnTo>
                <a:lnTo>
                  <a:pt x="620" y="497"/>
                </a:lnTo>
                <a:lnTo>
                  <a:pt x="629" y="497"/>
                </a:lnTo>
                <a:lnTo>
                  <a:pt x="638" y="490"/>
                </a:lnTo>
                <a:lnTo>
                  <a:pt x="655" y="471"/>
                </a:lnTo>
                <a:lnTo>
                  <a:pt x="664" y="464"/>
                </a:lnTo>
                <a:lnTo>
                  <a:pt x="681" y="454"/>
                </a:lnTo>
                <a:lnTo>
                  <a:pt x="690" y="454"/>
                </a:lnTo>
                <a:lnTo>
                  <a:pt x="681" y="454"/>
                </a:lnTo>
                <a:lnTo>
                  <a:pt x="681" y="447"/>
                </a:lnTo>
                <a:lnTo>
                  <a:pt x="690" y="447"/>
                </a:lnTo>
                <a:lnTo>
                  <a:pt x="690" y="438"/>
                </a:lnTo>
                <a:lnTo>
                  <a:pt x="698" y="428"/>
                </a:lnTo>
                <a:lnTo>
                  <a:pt x="707" y="428"/>
                </a:lnTo>
                <a:lnTo>
                  <a:pt x="724" y="428"/>
                </a:lnTo>
                <a:lnTo>
                  <a:pt x="743" y="428"/>
                </a:lnTo>
                <a:lnTo>
                  <a:pt x="759" y="428"/>
                </a:lnTo>
                <a:lnTo>
                  <a:pt x="769" y="428"/>
                </a:lnTo>
                <a:lnTo>
                  <a:pt x="776" y="428"/>
                </a:lnTo>
                <a:lnTo>
                  <a:pt x="785" y="428"/>
                </a:lnTo>
                <a:lnTo>
                  <a:pt x="802" y="421"/>
                </a:lnTo>
                <a:lnTo>
                  <a:pt x="811" y="421"/>
                </a:lnTo>
                <a:lnTo>
                  <a:pt x="818" y="412"/>
                </a:lnTo>
                <a:lnTo>
                  <a:pt x="837" y="412"/>
                </a:lnTo>
                <a:lnTo>
                  <a:pt x="844" y="412"/>
                </a:lnTo>
                <a:lnTo>
                  <a:pt x="854" y="402"/>
                </a:lnTo>
                <a:lnTo>
                  <a:pt x="863" y="402"/>
                </a:lnTo>
                <a:lnTo>
                  <a:pt x="870" y="395"/>
                </a:lnTo>
                <a:lnTo>
                  <a:pt x="880" y="386"/>
                </a:lnTo>
                <a:lnTo>
                  <a:pt x="880" y="378"/>
                </a:lnTo>
                <a:lnTo>
                  <a:pt x="889" y="369"/>
                </a:lnTo>
                <a:lnTo>
                  <a:pt x="889" y="360"/>
                </a:lnTo>
                <a:lnTo>
                  <a:pt x="889" y="343"/>
                </a:lnTo>
                <a:lnTo>
                  <a:pt x="884" y="336"/>
                </a:lnTo>
                <a:lnTo>
                  <a:pt x="880" y="343"/>
                </a:lnTo>
                <a:lnTo>
                  <a:pt x="870" y="343"/>
                </a:lnTo>
                <a:lnTo>
                  <a:pt x="863" y="334"/>
                </a:lnTo>
                <a:lnTo>
                  <a:pt x="854" y="343"/>
                </a:lnTo>
                <a:lnTo>
                  <a:pt x="844" y="334"/>
                </a:lnTo>
                <a:lnTo>
                  <a:pt x="828" y="334"/>
                </a:lnTo>
                <a:lnTo>
                  <a:pt x="818" y="334"/>
                </a:lnTo>
                <a:lnTo>
                  <a:pt x="811" y="326"/>
                </a:lnTo>
                <a:lnTo>
                  <a:pt x="802" y="317"/>
                </a:lnTo>
                <a:lnTo>
                  <a:pt x="792" y="317"/>
                </a:lnTo>
                <a:lnTo>
                  <a:pt x="785" y="317"/>
                </a:lnTo>
                <a:lnTo>
                  <a:pt x="776" y="317"/>
                </a:lnTo>
                <a:lnTo>
                  <a:pt x="769" y="307"/>
                </a:lnTo>
                <a:lnTo>
                  <a:pt x="769" y="298"/>
                </a:lnTo>
                <a:lnTo>
                  <a:pt x="764" y="291"/>
                </a:lnTo>
                <a:lnTo>
                  <a:pt x="754" y="284"/>
                </a:lnTo>
                <a:lnTo>
                  <a:pt x="743" y="274"/>
                </a:lnTo>
                <a:lnTo>
                  <a:pt x="733" y="284"/>
                </a:lnTo>
                <a:lnTo>
                  <a:pt x="717" y="284"/>
                </a:lnTo>
                <a:lnTo>
                  <a:pt x="717" y="274"/>
                </a:lnTo>
                <a:lnTo>
                  <a:pt x="707" y="274"/>
                </a:lnTo>
                <a:lnTo>
                  <a:pt x="690" y="265"/>
                </a:lnTo>
                <a:lnTo>
                  <a:pt x="681" y="265"/>
                </a:lnTo>
                <a:lnTo>
                  <a:pt x="664" y="258"/>
                </a:lnTo>
                <a:lnTo>
                  <a:pt x="664" y="248"/>
                </a:lnTo>
                <a:lnTo>
                  <a:pt x="646" y="239"/>
                </a:lnTo>
                <a:lnTo>
                  <a:pt x="638" y="239"/>
                </a:lnTo>
                <a:lnTo>
                  <a:pt x="620" y="222"/>
                </a:lnTo>
                <a:lnTo>
                  <a:pt x="612" y="222"/>
                </a:lnTo>
                <a:lnTo>
                  <a:pt x="603" y="215"/>
                </a:lnTo>
                <a:lnTo>
                  <a:pt x="596" y="206"/>
                </a:lnTo>
                <a:lnTo>
                  <a:pt x="586" y="206"/>
                </a:lnTo>
                <a:lnTo>
                  <a:pt x="586" y="196"/>
                </a:lnTo>
                <a:lnTo>
                  <a:pt x="586" y="189"/>
                </a:lnTo>
                <a:lnTo>
                  <a:pt x="577" y="180"/>
                </a:lnTo>
                <a:lnTo>
                  <a:pt x="567" y="17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2" name="Freeform 499">
            <a:extLst>
              <a:ext uri="{FF2B5EF4-FFF2-40B4-BE49-F238E27FC236}">
                <a16:creationId xmlns:a16="http://schemas.microsoft.com/office/drawing/2014/main" id="{C76C1980-2041-405C-B73F-6DD243D7B713}"/>
              </a:ext>
            </a:extLst>
          </p:cNvPr>
          <p:cNvSpPr>
            <a:spLocks/>
          </p:cNvSpPr>
          <p:nvPr/>
        </p:nvSpPr>
        <p:spPr bwMode="auto">
          <a:xfrm>
            <a:off x="312332" y="3118859"/>
            <a:ext cx="299243" cy="422147"/>
          </a:xfrm>
          <a:custGeom>
            <a:avLst/>
            <a:gdLst>
              <a:gd name="T0" fmla="*/ 95 w 336"/>
              <a:gd name="T1" fmla="*/ 474 h 474"/>
              <a:gd name="T2" fmla="*/ 78 w 336"/>
              <a:gd name="T3" fmla="*/ 464 h 474"/>
              <a:gd name="T4" fmla="*/ 43 w 336"/>
              <a:gd name="T5" fmla="*/ 447 h 474"/>
              <a:gd name="T6" fmla="*/ 26 w 336"/>
              <a:gd name="T7" fmla="*/ 431 h 474"/>
              <a:gd name="T8" fmla="*/ 0 w 336"/>
              <a:gd name="T9" fmla="*/ 440 h 474"/>
              <a:gd name="T10" fmla="*/ 17 w 336"/>
              <a:gd name="T11" fmla="*/ 405 h 474"/>
              <a:gd name="T12" fmla="*/ 36 w 336"/>
              <a:gd name="T13" fmla="*/ 388 h 474"/>
              <a:gd name="T14" fmla="*/ 36 w 336"/>
              <a:gd name="T15" fmla="*/ 353 h 474"/>
              <a:gd name="T16" fmla="*/ 52 w 336"/>
              <a:gd name="T17" fmla="*/ 327 h 474"/>
              <a:gd name="T18" fmla="*/ 62 w 336"/>
              <a:gd name="T19" fmla="*/ 294 h 474"/>
              <a:gd name="T20" fmla="*/ 26 w 336"/>
              <a:gd name="T21" fmla="*/ 284 h 474"/>
              <a:gd name="T22" fmla="*/ 36 w 336"/>
              <a:gd name="T23" fmla="*/ 258 h 474"/>
              <a:gd name="T24" fmla="*/ 43 w 336"/>
              <a:gd name="T25" fmla="*/ 232 h 474"/>
              <a:gd name="T26" fmla="*/ 69 w 336"/>
              <a:gd name="T27" fmla="*/ 216 h 474"/>
              <a:gd name="T28" fmla="*/ 95 w 336"/>
              <a:gd name="T29" fmla="*/ 189 h 474"/>
              <a:gd name="T30" fmla="*/ 114 w 336"/>
              <a:gd name="T31" fmla="*/ 163 h 474"/>
              <a:gd name="T32" fmla="*/ 130 w 336"/>
              <a:gd name="T33" fmla="*/ 121 h 474"/>
              <a:gd name="T34" fmla="*/ 147 w 336"/>
              <a:gd name="T35" fmla="*/ 85 h 474"/>
              <a:gd name="T36" fmla="*/ 163 w 336"/>
              <a:gd name="T37" fmla="*/ 52 h 474"/>
              <a:gd name="T38" fmla="*/ 173 w 336"/>
              <a:gd name="T39" fmla="*/ 26 h 474"/>
              <a:gd name="T40" fmla="*/ 192 w 336"/>
              <a:gd name="T41" fmla="*/ 10 h 474"/>
              <a:gd name="T42" fmla="*/ 215 w 336"/>
              <a:gd name="T43" fmla="*/ 10 h 474"/>
              <a:gd name="T44" fmla="*/ 225 w 336"/>
              <a:gd name="T45" fmla="*/ 26 h 474"/>
              <a:gd name="T46" fmla="*/ 241 w 336"/>
              <a:gd name="T47" fmla="*/ 36 h 474"/>
              <a:gd name="T48" fmla="*/ 267 w 336"/>
              <a:gd name="T49" fmla="*/ 43 h 474"/>
              <a:gd name="T50" fmla="*/ 286 w 336"/>
              <a:gd name="T51" fmla="*/ 52 h 474"/>
              <a:gd name="T52" fmla="*/ 303 w 336"/>
              <a:gd name="T53" fmla="*/ 59 h 474"/>
              <a:gd name="T54" fmla="*/ 329 w 336"/>
              <a:gd name="T55" fmla="*/ 69 h 474"/>
              <a:gd name="T56" fmla="*/ 319 w 336"/>
              <a:gd name="T57" fmla="*/ 95 h 474"/>
              <a:gd name="T58" fmla="*/ 336 w 336"/>
              <a:gd name="T59" fmla="*/ 111 h 474"/>
              <a:gd name="T60" fmla="*/ 319 w 336"/>
              <a:gd name="T61" fmla="*/ 121 h 474"/>
              <a:gd name="T62" fmla="*/ 303 w 336"/>
              <a:gd name="T63" fmla="*/ 130 h 474"/>
              <a:gd name="T64" fmla="*/ 286 w 336"/>
              <a:gd name="T65" fmla="*/ 137 h 474"/>
              <a:gd name="T66" fmla="*/ 267 w 336"/>
              <a:gd name="T67" fmla="*/ 163 h 474"/>
              <a:gd name="T68" fmla="*/ 260 w 336"/>
              <a:gd name="T69" fmla="*/ 189 h 474"/>
              <a:gd name="T70" fmla="*/ 260 w 336"/>
              <a:gd name="T71" fmla="*/ 216 h 474"/>
              <a:gd name="T72" fmla="*/ 241 w 336"/>
              <a:gd name="T73" fmla="*/ 223 h 474"/>
              <a:gd name="T74" fmla="*/ 215 w 336"/>
              <a:gd name="T75" fmla="*/ 258 h 474"/>
              <a:gd name="T76" fmla="*/ 192 w 336"/>
              <a:gd name="T77" fmla="*/ 258 h 474"/>
              <a:gd name="T78" fmla="*/ 192 w 336"/>
              <a:gd name="T79" fmla="*/ 294 h 474"/>
              <a:gd name="T80" fmla="*/ 199 w 336"/>
              <a:gd name="T81" fmla="*/ 320 h 474"/>
              <a:gd name="T82" fmla="*/ 182 w 336"/>
              <a:gd name="T83" fmla="*/ 346 h 474"/>
              <a:gd name="T84" fmla="*/ 163 w 336"/>
              <a:gd name="T85" fmla="*/ 362 h 474"/>
              <a:gd name="T86" fmla="*/ 173 w 336"/>
              <a:gd name="T87" fmla="*/ 379 h 474"/>
              <a:gd name="T88" fmla="*/ 163 w 336"/>
              <a:gd name="T89" fmla="*/ 395 h 474"/>
              <a:gd name="T90" fmla="*/ 137 w 336"/>
              <a:gd name="T91" fmla="*/ 405 h 474"/>
              <a:gd name="T92" fmla="*/ 130 w 336"/>
              <a:gd name="T93" fmla="*/ 421 h 474"/>
              <a:gd name="T94" fmla="*/ 121 w 336"/>
              <a:gd name="T95" fmla="*/ 464 h 4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6" h="474">
                <a:moveTo>
                  <a:pt x="130" y="464"/>
                </a:moveTo>
                <a:lnTo>
                  <a:pt x="104" y="474"/>
                </a:lnTo>
                <a:lnTo>
                  <a:pt x="95" y="474"/>
                </a:lnTo>
                <a:lnTo>
                  <a:pt x="95" y="464"/>
                </a:lnTo>
                <a:lnTo>
                  <a:pt x="88" y="474"/>
                </a:lnTo>
                <a:lnTo>
                  <a:pt x="78" y="464"/>
                </a:lnTo>
                <a:lnTo>
                  <a:pt x="62" y="457"/>
                </a:lnTo>
                <a:lnTo>
                  <a:pt x="52" y="447"/>
                </a:lnTo>
                <a:lnTo>
                  <a:pt x="43" y="447"/>
                </a:lnTo>
                <a:lnTo>
                  <a:pt x="36" y="447"/>
                </a:lnTo>
                <a:lnTo>
                  <a:pt x="36" y="440"/>
                </a:lnTo>
                <a:lnTo>
                  <a:pt x="26" y="431"/>
                </a:lnTo>
                <a:lnTo>
                  <a:pt x="17" y="440"/>
                </a:lnTo>
                <a:lnTo>
                  <a:pt x="10" y="440"/>
                </a:lnTo>
                <a:lnTo>
                  <a:pt x="0" y="440"/>
                </a:lnTo>
                <a:lnTo>
                  <a:pt x="0" y="431"/>
                </a:lnTo>
                <a:lnTo>
                  <a:pt x="10" y="421"/>
                </a:lnTo>
                <a:lnTo>
                  <a:pt x="17" y="405"/>
                </a:lnTo>
                <a:lnTo>
                  <a:pt x="17" y="395"/>
                </a:lnTo>
                <a:lnTo>
                  <a:pt x="26" y="388"/>
                </a:lnTo>
                <a:lnTo>
                  <a:pt x="36" y="388"/>
                </a:lnTo>
                <a:lnTo>
                  <a:pt x="36" y="379"/>
                </a:lnTo>
                <a:lnTo>
                  <a:pt x="43" y="362"/>
                </a:lnTo>
                <a:lnTo>
                  <a:pt x="36" y="353"/>
                </a:lnTo>
                <a:lnTo>
                  <a:pt x="43" y="346"/>
                </a:lnTo>
                <a:lnTo>
                  <a:pt x="43" y="336"/>
                </a:lnTo>
                <a:lnTo>
                  <a:pt x="52" y="327"/>
                </a:lnTo>
                <a:lnTo>
                  <a:pt x="62" y="320"/>
                </a:lnTo>
                <a:lnTo>
                  <a:pt x="62" y="310"/>
                </a:lnTo>
                <a:lnTo>
                  <a:pt x="62" y="294"/>
                </a:lnTo>
                <a:lnTo>
                  <a:pt x="52" y="294"/>
                </a:lnTo>
                <a:lnTo>
                  <a:pt x="43" y="284"/>
                </a:lnTo>
                <a:lnTo>
                  <a:pt x="26" y="284"/>
                </a:lnTo>
                <a:lnTo>
                  <a:pt x="26" y="275"/>
                </a:lnTo>
                <a:lnTo>
                  <a:pt x="26" y="268"/>
                </a:lnTo>
                <a:lnTo>
                  <a:pt x="36" y="258"/>
                </a:lnTo>
                <a:lnTo>
                  <a:pt x="43" y="249"/>
                </a:lnTo>
                <a:lnTo>
                  <a:pt x="43" y="242"/>
                </a:lnTo>
                <a:lnTo>
                  <a:pt x="43" y="232"/>
                </a:lnTo>
                <a:lnTo>
                  <a:pt x="43" y="223"/>
                </a:lnTo>
                <a:lnTo>
                  <a:pt x="52" y="216"/>
                </a:lnTo>
                <a:lnTo>
                  <a:pt x="69" y="216"/>
                </a:lnTo>
                <a:lnTo>
                  <a:pt x="78" y="216"/>
                </a:lnTo>
                <a:lnTo>
                  <a:pt x="88" y="199"/>
                </a:lnTo>
                <a:lnTo>
                  <a:pt x="95" y="189"/>
                </a:lnTo>
                <a:lnTo>
                  <a:pt x="95" y="180"/>
                </a:lnTo>
                <a:lnTo>
                  <a:pt x="104" y="173"/>
                </a:lnTo>
                <a:lnTo>
                  <a:pt x="114" y="163"/>
                </a:lnTo>
                <a:lnTo>
                  <a:pt x="121" y="147"/>
                </a:lnTo>
                <a:lnTo>
                  <a:pt x="130" y="137"/>
                </a:lnTo>
                <a:lnTo>
                  <a:pt x="130" y="121"/>
                </a:lnTo>
                <a:lnTo>
                  <a:pt x="137" y="111"/>
                </a:lnTo>
                <a:lnTo>
                  <a:pt x="147" y="104"/>
                </a:lnTo>
                <a:lnTo>
                  <a:pt x="147" y="85"/>
                </a:lnTo>
                <a:lnTo>
                  <a:pt x="156" y="78"/>
                </a:lnTo>
                <a:lnTo>
                  <a:pt x="163" y="69"/>
                </a:lnTo>
                <a:lnTo>
                  <a:pt x="163" y="52"/>
                </a:lnTo>
                <a:lnTo>
                  <a:pt x="163" y="43"/>
                </a:lnTo>
                <a:lnTo>
                  <a:pt x="173" y="36"/>
                </a:lnTo>
                <a:lnTo>
                  <a:pt x="173" y="26"/>
                </a:lnTo>
                <a:lnTo>
                  <a:pt x="173" y="17"/>
                </a:lnTo>
                <a:lnTo>
                  <a:pt x="173" y="10"/>
                </a:lnTo>
                <a:lnTo>
                  <a:pt x="192" y="10"/>
                </a:lnTo>
                <a:lnTo>
                  <a:pt x="199" y="10"/>
                </a:lnTo>
                <a:lnTo>
                  <a:pt x="199" y="0"/>
                </a:lnTo>
                <a:lnTo>
                  <a:pt x="215" y="10"/>
                </a:lnTo>
                <a:lnTo>
                  <a:pt x="225" y="10"/>
                </a:lnTo>
                <a:lnTo>
                  <a:pt x="225" y="17"/>
                </a:lnTo>
                <a:lnTo>
                  <a:pt x="225" y="26"/>
                </a:lnTo>
                <a:lnTo>
                  <a:pt x="225" y="36"/>
                </a:lnTo>
                <a:lnTo>
                  <a:pt x="232" y="36"/>
                </a:lnTo>
                <a:lnTo>
                  <a:pt x="241" y="36"/>
                </a:lnTo>
                <a:lnTo>
                  <a:pt x="251" y="36"/>
                </a:lnTo>
                <a:lnTo>
                  <a:pt x="260" y="43"/>
                </a:lnTo>
                <a:lnTo>
                  <a:pt x="267" y="43"/>
                </a:lnTo>
                <a:lnTo>
                  <a:pt x="277" y="52"/>
                </a:lnTo>
                <a:lnTo>
                  <a:pt x="286" y="59"/>
                </a:lnTo>
                <a:lnTo>
                  <a:pt x="286" y="52"/>
                </a:lnTo>
                <a:lnTo>
                  <a:pt x="293" y="52"/>
                </a:lnTo>
                <a:lnTo>
                  <a:pt x="303" y="52"/>
                </a:lnTo>
                <a:lnTo>
                  <a:pt x="303" y="59"/>
                </a:lnTo>
                <a:lnTo>
                  <a:pt x="310" y="59"/>
                </a:lnTo>
                <a:lnTo>
                  <a:pt x="319" y="59"/>
                </a:lnTo>
                <a:lnTo>
                  <a:pt x="329" y="69"/>
                </a:lnTo>
                <a:lnTo>
                  <a:pt x="319" y="78"/>
                </a:lnTo>
                <a:lnTo>
                  <a:pt x="319" y="85"/>
                </a:lnTo>
                <a:lnTo>
                  <a:pt x="319" y="95"/>
                </a:lnTo>
                <a:lnTo>
                  <a:pt x="329" y="95"/>
                </a:lnTo>
                <a:lnTo>
                  <a:pt x="336" y="104"/>
                </a:lnTo>
                <a:lnTo>
                  <a:pt x="336" y="111"/>
                </a:lnTo>
                <a:lnTo>
                  <a:pt x="329" y="111"/>
                </a:lnTo>
                <a:lnTo>
                  <a:pt x="329" y="121"/>
                </a:lnTo>
                <a:lnTo>
                  <a:pt x="319" y="121"/>
                </a:lnTo>
                <a:lnTo>
                  <a:pt x="310" y="121"/>
                </a:lnTo>
                <a:lnTo>
                  <a:pt x="310" y="130"/>
                </a:lnTo>
                <a:lnTo>
                  <a:pt x="303" y="130"/>
                </a:lnTo>
                <a:lnTo>
                  <a:pt x="293" y="130"/>
                </a:lnTo>
                <a:lnTo>
                  <a:pt x="293" y="137"/>
                </a:lnTo>
                <a:lnTo>
                  <a:pt x="286" y="137"/>
                </a:lnTo>
                <a:lnTo>
                  <a:pt x="277" y="147"/>
                </a:lnTo>
                <a:lnTo>
                  <a:pt x="277" y="154"/>
                </a:lnTo>
                <a:lnTo>
                  <a:pt x="267" y="163"/>
                </a:lnTo>
                <a:lnTo>
                  <a:pt x="267" y="173"/>
                </a:lnTo>
                <a:lnTo>
                  <a:pt x="260" y="180"/>
                </a:lnTo>
                <a:lnTo>
                  <a:pt x="260" y="189"/>
                </a:lnTo>
                <a:lnTo>
                  <a:pt x="260" y="199"/>
                </a:lnTo>
                <a:lnTo>
                  <a:pt x="260" y="206"/>
                </a:lnTo>
                <a:lnTo>
                  <a:pt x="260" y="216"/>
                </a:lnTo>
                <a:lnTo>
                  <a:pt x="251" y="216"/>
                </a:lnTo>
                <a:lnTo>
                  <a:pt x="241" y="216"/>
                </a:lnTo>
                <a:lnTo>
                  <a:pt x="241" y="223"/>
                </a:lnTo>
                <a:lnTo>
                  <a:pt x="225" y="242"/>
                </a:lnTo>
                <a:lnTo>
                  <a:pt x="225" y="249"/>
                </a:lnTo>
                <a:lnTo>
                  <a:pt x="215" y="258"/>
                </a:lnTo>
                <a:lnTo>
                  <a:pt x="215" y="268"/>
                </a:lnTo>
                <a:lnTo>
                  <a:pt x="208" y="268"/>
                </a:lnTo>
                <a:lnTo>
                  <a:pt x="192" y="258"/>
                </a:lnTo>
                <a:lnTo>
                  <a:pt x="192" y="275"/>
                </a:lnTo>
                <a:lnTo>
                  <a:pt x="192" y="284"/>
                </a:lnTo>
                <a:lnTo>
                  <a:pt x="192" y="294"/>
                </a:lnTo>
                <a:lnTo>
                  <a:pt x="199" y="301"/>
                </a:lnTo>
                <a:lnTo>
                  <a:pt x="199" y="310"/>
                </a:lnTo>
                <a:lnTo>
                  <a:pt x="199" y="320"/>
                </a:lnTo>
                <a:lnTo>
                  <a:pt x="192" y="327"/>
                </a:lnTo>
                <a:lnTo>
                  <a:pt x="182" y="336"/>
                </a:lnTo>
                <a:lnTo>
                  <a:pt x="182" y="346"/>
                </a:lnTo>
                <a:lnTo>
                  <a:pt x="173" y="346"/>
                </a:lnTo>
                <a:lnTo>
                  <a:pt x="163" y="353"/>
                </a:lnTo>
                <a:lnTo>
                  <a:pt x="163" y="362"/>
                </a:lnTo>
                <a:lnTo>
                  <a:pt x="156" y="369"/>
                </a:lnTo>
                <a:lnTo>
                  <a:pt x="163" y="379"/>
                </a:lnTo>
                <a:lnTo>
                  <a:pt x="173" y="379"/>
                </a:lnTo>
                <a:lnTo>
                  <a:pt x="173" y="388"/>
                </a:lnTo>
                <a:lnTo>
                  <a:pt x="173" y="395"/>
                </a:lnTo>
                <a:lnTo>
                  <a:pt x="163" y="395"/>
                </a:lnTo>
                <a:lnTo>
                  <a:pt x="156" y="405"/>
                </a:lnTo>
                <a:lnTo>
                  <a:pt x="147" y="405"/>
                </a:lnTo>
                <a:lnTo>
                  <a:pt x="137" y="405"/>
                </a:lnTo>
                <a:lnTo>
                  <a:pt x="137" y="414"/>
                </a:lnTo>
                <a:lnTo>
                  <a:pt x="130" y="414"/>
                </a:lnTo>
                <a:lnTo>
                  <a:pt x="130" y="421"/>
                </a:lnTo>
                <a:lnTo>
                  <a:pt x="121" y="431"/>
                </a:lnTo>
                <a:lnTo>
                  <a:pt x="121" y="447"/>
                </a:lnTo>
                <a:lnTo>
                  <a:pt x="121" y="464"/>
                </a:lnTo>
                <a:lnTo>
                  <a:pt x="130" y="46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3" name="Freeform 503">
            <a:extLst>
              <a:ext uri="{FF2B5EF4-FFF2-40B4-BE49-F238E27FC236}">
                <a16:creationId xmlns:a16="http://schemas.microsoft.com/office/drawing/2014/main" id="{1E3033A9-74CF-43CB-B6B3-F65A577897C1}"/>
              </a:ext>
            </a:extLst>
          </p:cNvPr>
          <p:cNvSpPr>
            <a:spLocks/>
          </p:cNvSpPr>
          <p:nvPr/>
        </p:nvSpPr>
        <p:spPr bwMode="auto">
          <a:xfrm>
            <a:off x="875198" y="2614774"/>
            <a:ext cx="728515" cy="708922"/>
          </a:xfrm>
          <a:custGeom>
            <a:avLst/>
            <a:gdLst>
              <a:gd name="T0" fmla="*/ 690 w 818"/>
              <a:gd name="T1" fmla="*/ 696 h 796"/>
              <a:gd name="T2" fmla="*/ 681 w 818"/>
              <a:gd name="T3" fmla="*/ 637 h 796"/>
              <a:gd name="T4" fmla="*/ 655 w 818"/>
              <a:gd name="T5" fmla="*/ 595 h 796"/>
              <a:gd name="T6" fmla="*/ 707 w 818"/>
              <a:gd name="T7" fmla="*/ 568 h 796"/>
              <a:gd name="T8" fmla="*/ 698 w 818"/>
              <a:gd name="T9" fmla="*/ 526 h 796"/>
              <a:gd name="T10" fmla="*/ 690 w 818"/>
              <a:gd name="T11" fmla="*/ 483 h 796"/>
              <a:gd name="T12" fmla="*/ 690 w 818"/>
              <a:gd name="T13" fmla="*/ 464 h 796"/>
              <a:gd name="T14" fmla="*/ 672 w 818"/>
              <a:gd name="T15" fmla="*/ 438 h 796"/>
              <a:gd name="T16" fmla="*/ 724 w 818"/>
              <a:gd name="T17" fmla="*/ 389 h 796"/>
              <a:gd name="T18" fmla="*/ 766 w 818"/>
              <a:gd name="T19" fmla="*/ 363 h 796"/>
              <a:gd name="T20" fmla="*/ 785 w 818"/>
              <a:gd name="T21" fmla="*/ 301 h 796"/>
              <a:gd name="T22" fmla="*/ 792 w 818"/>
              <a:gd name="T23" fmla="*/ 249 h 796"/>
              <a:gd name="T24" fmla="*/ 724 w 818"/>
              <a:gd name="T25" fmla="*/ 190 h 796"/>
              <a:gd name="T26" fmla="*/ 672 w 818"/>
              <a:gd name="T27" fmla="*/ 180 h 796"/>
              <a:gd name="T28" fmla="*/ 638 w 818"/>
              <a:gd name="T29" fmla="*/ 138 h 796"/>
              <a:gd name="T30" fmla="*/ 603 w 818"/>
              <a:gd name="T31" fmla="*/ 131 h 796"/>
              <a:gd name="T32" fmla="*/ 586 w 818"/>
              <a:gd name="T33" fmla="*/ 86 h 796"/>
              <a:gd name="T34" fmla="*/ 551 w 818"/>
              <a:gd name="T35" fmla="*/ 52 h 796"/>
              <a:gd name="T36" fmla="*/ 525 w 818"/>
              <a:gd name="T37" fmla="*/ 17 h 796"/>
              <a:gd name="T38" fmla="*/ 482 w 818"/>
              <a:gd name="T39" fmla="*/ 0 h 796"/>
              <a:gd name="T40" fmla="*/ 456 w 818"/>
              <a:gd name="T41" fmla="*/ 43 h 796"/>
              <a:gd name="T42" fmla="*/ 421 w 818"/>
              <a:gd name="T43" fmla="*/ 79 h 796"/>
              <a:gd name="T44" fmla="*/ 362 w 818"/>
              <a:gd name="T45" fmla="*/ 105 h 796"/>
              <a:gd name="T46" fmla="*/ 343 w 818"/>
              <a:gd name="T47" fmla="*/ 121 h 796"/>
              <a:gd name="T48" fmla="*/ 274 w 818"/>
              <a:gd name="T49" fmla="*/ 105 h 796"/>
              <a:gd name="T50" fmla="*/ 258 w 818"/>
              <a:gd name="T51" fmla="*/ 62 h 796"/>
              <a:gd name="T52" fmla="*/ 222 w 818"/>
              <a:gd name="T53" fmla="*/ 86 h 796"/>
              <a:gd name="T54" fmla="*/ 232 w 818"/>
              <a:gd name="T55" fmla="*/ 147 h 796"/>
              <a:gd name="T56" fmla="*/ 196 w 818"/>
              <a:gd name="T57" fmla="*/ 138 h 796"/>
              <a:gd name="T58" fmla="*/ 137 w 818"/>
              <a:gd name="T59" fmla="*/ 131 h 796"/>
              <a:gd name="T60" fmla="*/ 120 w 818"/>
              <a:gd name="T61" fmla="*/ 105 h 796"/>
              <a:gd name="T62" fmla="*/ 59 w 818"/>
              <a:gd name="T63" fmla="*/ 105 h 796"/>
              <a:gd name="T64" fmla="*/ 7 w 818"/>
              <a:gd name="T65" fmla="*/ 105 h 796"/>
              <a:gd name="T66" fmla="*/ 33 w 818"/>
              <a:gd name="T67" fmla="*/ 131 h 796"/>
              <a:gd name="T68" fmla="*/ 7 w 818"/>
              <a:gd name="T69" fmla="*/ 147 h 796"/>
              <a:gd name="T70" fmla="*/ 49 w 818"/>
              <a:gd name="T71" fmla="*/ 164 h 796"/>
              <a:gd name="T72" fmla="*/ 85 w 818"/>
              <a:gd name="T73" fmla="*/ 206 h 796"/>
              <a:gd name="T74" fmla="*/ 127 w 818"/>
              <a:gd name="T75" fmla="*/ 232 h 796"/>
              <a:gd name="T76" fmla="*/ 137 w 818"/>
              <a:gd name="T77" fmla="*/ 268 h 796"/>
              <a:gd name="T78" fmla="*/ 144 w 818"/>
              <a:gd name="T79" fmla="*/ 318 h 796"/>
              <a:gd name="T80" fmla="*/ 179 w 818"/>
              <a:gd name="T81" fmla="*/ 363 h 796"/>
              <a:gd name="T82" fmla="*/ 172 w 818"/>
              <a:gd name="T83" fmla="*/ 412 h 796"/>
              <a:gd name="T84" fmla="*/ 179 w 818"/>
              <a:gd name="T85" fmla="*/ 457 h 796"/>
              <a:gd name="T86" fmla="*/ 172 w 818"/>
              <a:gd name="T87" fmla="*/ 464 h 796"/>
              <a:gd name="T88" fmla="*/ 144 w 818"/>
              <a:gd name="T89" fmla="*/ 464 h 796"/>
              <a:gd name="T90" fmla="*/ 137 w 818"/>
              <a:gd name="T91" fmla="*/ 516 h 796"/>
              <a:gd name="T92" fmla="*/ 101 w 818"/>
              <a:gd name="T93" fmla="*/ 552 h 796"/>
              <a:gd name="T94" fmla="*/ 49 w 818"/>
              <a:gd name="T95" fmla="*/ 621 h 796"/>
              <a:gd name="T96" fmla="*/ 85 w 818"/>
              <a:gd name="T97" fmla="*/ 654 h 796"/>
              <a:gd name="T98" fmla="*/ 144 w 818"/>
              <a:gd name="T99" fmla="*/ 696 h 796"/>
              <a:gd name="T100" fmla="*/ 217 w 818"/>
              <a:gd name="T101" fmla="*/ 734 h 796"/>
              <a:gd name="T102" fmla="*/ 267 w 818"/>
              <a:gd name="T103" fmla="*/ 767 h 796"/>
              <a:gd name="T104" fmla="*/ 326 w 818"/>
              <a:gd name="T105" fmla="*/ 784 h 796"/>
              <a:gd name="T106" fmla="*/ 378 w 818"/>
              <a:gd name="T107" fmla="*/ 786 h 796"/>
              <a:gd name="T108" fmla="*/ 378 w 818"/>
              <a:gd name="T109" fmla="*/ 741 h 796"/>
              <a:gd name="T110" fmla="*/ 421 w 818"/>
              <a:gd name="T111" fmla="*/ 715 h 796"/>
              <a:gd name="T112" fmla="*/ 473 w 818"/>
              <a:gd name="T113" fmla="*/ 715 h 796"/>
              <a:gd name="T114" fmla="*/ 525 w 818"/>
              <a:gd name="T115" fmla="*/ 715 h 796"/>
              <a:gd name="T116" fmla="*/ 551 w 818"/>
              <a:gd name="T117" fmla="*/ 741 h 796"/>
              <a:gd name="T118" fmla="*/ 586 w 818"/>
              <a:gd name="T119" fmla="*/ 774 h 796"/>
              <a:gd name="T120" fmla="*/ 638 w 818"/>
              <a:gd name="T121" fmla="*/ 767 h 796"/>
              <a:gd name="T122" fmla="*/ 662 w 818"/>
              <a:gd name="T123" fmla="*/ 741 h 796"/>
              <a:gd name="T124" fmla="*/ 698 w 818"/>
              <a:gd name="T125" fmla="*/ 732 h 7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18" h="796">
                <a:moveTo>
                  <a:pt x="698" y="732"/>
                </a:moveTo>
                <a:lnTo>
                  <a:pt x="707" y="722"/>
                </a:lnTo>
                <a:lnTo>
                  <a:pt x="707" y="715"/>
                </a:lnTo>
                <a:lnTo>
                  <a:pt x="714" y="706"/>
                </a:lnTo>
                <a:lnTo>
                  <a:pt x="707" y="696"/>
                </a:lnTo>
                <a:lnTo>
                  <a:pt x="690" y="696"/>
                </a:lnTo>
                <a:lnTo>
                  <a:pt x="681" y="696"/>
                </a:lnTo>
                <a:lnTo>
                  <a:pt x="672" y="680"/>
                </a:lnTo>
                <a:lnTo>
                  <a:pt x="672" y="673"/>
                </a:lnTo>
                <a:lnTo>
                  <a:pt x="672" y="654"/>
                </a:lnTo>
                <a:lnTo>
                  <a:pt x="672" y="644"/>
                </a:lnTo>
                <a:lnTo>
                  <a:pt x="681" y="637"/>
                </a:lnTo>
                <a:lnTo>
                  <a:pt x="681" y="628"/>
                </a:lnTo>
                <a:lnTo>
                  <a:pt x="681" y="621"/>
                </a:lnTo>
                <a:lnTo>
                  <a:pt x="672" y="611"/>
                </a:lnTo>
                <a:lnTo>
                  <a:pt x="662" y="611"/>
                </a:lnTo>
                <a:lnTo>
                  <a:pt x="655" y="604"/>
                </a:lnTo>
                <a:lnTo>
                  <a:pt x="655" y="595"/>
                </a:lnTo>
                <a:lnTo>
                  <a:pt x="662" y="595"/>
                </a:lnTo>
                <a:lnTo>
                  <a:pt x="672" y="595"/>
                </a:lnTo>
                <a:lnTo>
                  <a:pt x="681" y="595"/>
                </a:lnTo>
                <a:lnTo>
                  <a:pt x="690" y="585"/>
                </a:lnTo>
                <a:lnTo>
                  <a:pt x="698" y="576"/>
                </a:lnTo>
                <a:lnTo>
                  <a:pt x="707" y="568"/>
                </a:lnTo>
                <a:lnTo>
                  <a:pt x="698" y="559"/>
                </a:lnTo>
                <a:lnTo>
                  <a:pt x="698" y="552"/>
                </a:lnTo>
                <a:lnTo>
                  <a:pt x="690" y="542"/>
                </a:lnTo>
                <a:lnTo>
                  <a:pt x="690" y="533"/>
                </a:lnTo>
                <a:lnTo>
                  <a:pt x="698" y="533"/>
                </a:lnTo>
                <a:lnTo>
                  <a:pt x="698" y="526"/>
                </a:lnTo>
                <a:lnTo>
                  <a:pt x="698" y="516"/>
                </a:lnTo>
                <a:lnTo>
                  <a:pt x="690" y="507"/>
                </a:lnTo>
                <a:lnTo>
                  <a:pt x="690" y="500"/>
                </a:lnTo>
                <a:lnTo>
                  <a:pt x="698" y="500"/>
                </a:lnTo>
                <a:lnTo>
                  <a:pt x="690" y="490"/>
                </a:lnTo>
                <a:lnTo>
                  <a:pt x="690" y="483"/>
                </a:lnTo>
                <a:lnTo>
                  <a:pt x="698" y="483"/>
                </a:lnTo>
                <a:lnTo>
                  <a:pt x="707" y="483"/>
                </a:lnTo>
                <a:lnTo>
                  <a:pt x="707" y="474"/>
                </a:lnTo>
                <a:lnTo>
                  <a:pt x="698" y="457"/>
                </a:lnTo>
                <a:lnTo>
                  <a:pt x="690" y="457"/>
                </a:lnTo>
                <a:lnTo>
                  <a:pt x="690" y="464"/>
                </a:lnTo>
                <a:lnTo>
                  <a:pt x="681" y="464"/>
                </a:lnTo>
                <a:lnTo>
                  <a:pt x="672" y="483"/>
                </a:lnTo>
                <a:lnTo>
                  <a:pt x="655" y="490"/>
                </a:lnTo>
                <a:lnTo>
                  <a:pt x="646" y="474"/>
                </a:lnTo>
                <a:lnTo>
                  <a:pt x="655" y="457"/>
                </a:lnTo>
                <a:lnTo>
                  <a:pt x="672" y="438"/>
                </a:lnTo>
                <a:lnTo>
                  <a:pt x="672" y="431"/>
                </a:lnTo>
                <a:lnTo>
                  <a:pt x="681" y="422"/>
                </a:lnTo>
                <a:lnTo>
                  <a:pt x="698" y="422"/>
                </a:lnTo>
                <a:lnTo>
                  <a:pt x="714" y="412"/>
                </a:lnTo>
                <a:lnTo>
                  <a:pt x="724" y="396"/>
                </a:lnTo>
                <a:lnTo>
                  <a:pt x="724" y="389"/>
                </a:lnTo>
                <a:lnTo>
                  <a:pt x="733" y="379"/>
                </a:lnTo>
                <a:lnTo>
                  <a:pt x="740" y="389"/>
                </a:lnTo>
                <a:lnTo>
                  <a:pt x="750" y="396"/>
                </a:lnTo>
                <a:lnTo>
                  <a:pt x="759" y="379"/>
                </a:lnTo>
                <a:lnTo>
                  <a:pt x="766" y="389"/>
                </a:lnTo>
                <a:lnTo>
                  <a:pt x="766" y="363"/>
                </a:lnTo>
                <a:lnTo>
                  <a:pt x="776" y="353"/>
                </a:lnTo>
                <a:lnTo>
                  <a:pt x="776" y="344"/>
                </a:lnTo>
                <a:lnTo>
                  <a:pt x="776" y="327"/>
                </a:lnTo>
                <a:lnTo>
                  <a:pt x="776" y="318"/>
                </a:lnTo>
                <a:lnTo>
                  <a:pt x="785" y="310"/>
                </a:lnTo>
                <a:lnTo>
                  <a:pt x="785" y="301"/>
                </a:lnTo>
                <a:lnTo>
                  <a:pt x="792" y="284"/>
                </a:lnTo>
                <a:lnTo>
                  <a:pt x="802" y="275"/>
                </a:lnTo>
                <a:lnTo>
                  <a:pt x="818" y="258"/>
                </a:lnTo>
                <a:lnTo>
                  <a:pt x="811" y="249"/>
                </a:lnTo>
                <a:lnTo>
                  <a:pt x="802" y="249"/>
                </a:lnTo>
                <a:lnTo>
                  <a:pt x="792" y="249"/>
                </a:lnTo>
                <a:lnTo>
                  <a:pt x="785" y="242"/>
                </a:lnTo>
                <a:lnTo>
                  <a:pt x="766" y="242"/>
                </a:lnTo>
                <a:lnTo>
                  <a:pt x="750" y="232"/>
                </a:lnTo>
                <a:lnTo>
                  <a:pt x="740" y="225"/>
                </a:lnTo>
                <a:lnTo>
                  <a:pt x="733" y="206"/>
                </a:lnTo>
                <a:lnTo>
                  <a:pt x="724" y="190"/>
                </a:lnTo>
                <a:lnTo>
                  <a:pt x="707" y="190"/>
                </a:lnTo>
                <a:lnTo>
                  <a:pt x="698" y="180"/>
                </a:lnTo>
                <a:lnTo>
                  <a:pt x="690" y="180"/>
                </a:lnTo>
                <a:lnTo>
                  <a:pt x="681" y="180"/>
                </a:lnTo>
                <a:lnTo>
                  <a:pt x="672" y="190"/>
                </a:lnTo>
                <a:lnTo>
                  <a:pt x="672" y="180"/>
                </a:lnTo>
                <a:lnTo>
                  <a:pt x="662" y="173"/>
                </a:lnTo>
                <a:lnTo>
                  <a:pt x="655" y="164"/>
                </a:lnTo>
                <a:lnTo>
                  <a:pt x="646" y="164"/>
                </a:lnTo>
                <a:lnTo>
                  <a:pt x="646" y="154"/>
                </a:lnTo>
                <a:lnTo>
                  <a:pt x="638" y="147"/>
                </a:lnTo>
                <a:lnTo>
                  <a:pt x="638" y="138"/>
                </a:lnTo>
                <a:lnTo>
                  <a:pt x="629" y="131"/>
                </a:lnTo>
                <a:lnTo>
                  <a:pt x="629" y="121"/>
                </a:lnTo>
                <a:lnTo>
                  <a:pt x="620" y="121"/>
                </a:lnTo>
                <a:lnTo>
                  <a:pt x="620" y="131"/>
                </a:lnTo>
                <a:lnTo>
                  <a:pt x="612" y="131"/>
                </a:lnTo>
                <a:lnTo>
                  <a:pt x="603" y="131"/>
                </a:lnTo>
                <a:lnTo>
                  <a:pt x="593" y="121"/>
                </a:lnTo>
                <a:lnTo>
                  <a:pt x="603" y="112"/>
                </a:lnTo>
                <a:lnTo>
                  <a:pt x="603" y="105"/>
                </a:lnTo>
                <a:lnTo>
                  <a:pt x="603" y="86"/>
                </a:lnTo>
                <a:lnTo>
                  <a:pt x="593" y="86"/>
                </a:lnTo>
                <a:lnTo>
                  <a:pt x="586" y="86"/>
                </a:lnTo>
                <a:lnTo>
                  <a:pt x="577" y="86"/>
                </a:lnTo>
                <a:lnTo>
                  <a:pt x="567" y="69"/>
                </a:lnTo>
                <a:lnTo>
                  <a:pt x="567" y="62"/>
                </a:lnTo>
                <a:lnTo>
                  <a:pt x="560" y="62"/>
                </a:lnTo>
                <a:lnTo>
                  <a:pt x="551" y="62"/>
                </a:lnTo>
                <a:lnTo>
                  <a:pt x="551" y="52"/>
                </a:lnTo>
                <a:lnTo>
                  <a:pt x="551" y="43"/>
                </a:lnTo>
                <a:lnTo>
                  <a:pt x="541" y="43"/>
                </a:lnTo>
                <a:lnTo>
                  <a:pt x="534" y="43"/>
                </a:lnTo>
                <a:lnTo>
                  <a:pt x="534" y="34"/>
                </a:lnTo>
                <a:lnTo>
                  <a:pt x="525" y="26"/>
                </a:lnTo>
                <a:lnTo>
                  <a:pt x="525" y="17"/>
                </a:lnTo>
                <a:lnTo>
                  <a:pt x="525" y="10"/>
                </a:lnTo>
                <a:lnTo>
                  <a:pt x="525" y="0"/>
                </a:lnTo>
                <a:lnTo>
                  <a:pt x="508" y="0"/>
                </a:lnTo>
                <a:lnTo>
                  <a:pt x="499" y="0"/>
                </a:lnTo>
                <a:lnTo>
                  <a:pt x="489" y="0"/>
                </a:lnTo>
                <a:lnTo>
                  <a:pt x="482" y="0"/>
                </a:lnTo>
                <a:lnTo>
                  <a:pt x="473" y="0"/>
                </a:lnTo>
                <a:lnTo>
                  <a:pt x="466" y="10"/>
                </a:lnTo>
                <a:lnTo>
                  <a:pt x="466" y="17"/>
                </a:lnTo>
                <a:lnTo>
                  <a:pt x="466" y="26"/>
                </a:lnTo>
                <a:lnTo>
                  <a:pt x="456" y="34"/>
                </a:lnTo>
                <a:lnTo>
                  <a:pt x="456" y="43"/>
                </a:lnTo>
                <a:lnTo>
                  <a:pt x="456" y="62"/>
                </a:lnTo>
                <a:lnTo>
                  <a:pt x="456" y="69"/>
                </a:lnTo>
                <a:lnTo>
                  <a:pt x="447" y="69"/>
                </a:lnTo>
                <a:lnTo>
                  <a:pt x="440" y="69"/>
                </a:lnTo>
                <a:lnTo>
                  <a:pt x="430" y="79"/>
                </a:lnTo>
                <a:lnTo>
                  <a:pt x="421" y="79"/>
                </a:lnTo>
                <a:lnTo>
                  <a:pt x="404" y="86"/>
                </a:lnTo>
                <a:lnTo>
                  <a:pt x="388" y="95"/>
                </a:lnTo>
                <a:lnTo>
                  <a:pt x="369" y="95"/>
                </a:lnTo>
                <a:lnTo>
                  <a:pt x="352" y="95"/>
                </a:lnTo>
                <a:lnTo>
                  <a:pt x="352" y="105"/>
                </a:lnTo>
                <a:lnTo>
                  <a:pt x="362" y="105"/>
                </a:lnTo>
                <a:lnTo>
                  <a:pt x="378" y="112"/>
                </a:lnTo>
                <a:lnTo>
                  <a:pt x="388" y="121"/>
                </a:lnTo>
                <a:lnTo>
                  <a:pt x="378" y="121"/>
                </a:lnTo>
                <a:lnTo>
                  <a:pt x="378" y="131"/>
                </a:lnTo>
                <a:lnTo>
                  <a:pt x="362" y="121"/>
                </a:lnTo>
                <a:lnTo>
                  <a:pt x="343" y="121"/>
                </a:lnTo>
                <a:lnTo>
                  <a:pt x="326" y="121"/>
                </a:lnTo>
                <a:lnTo>
                  <a:pt x="326" y="112"/>
                </a:lnTo>
                <a:lnTo>
                  <a:pt x="310" y="112"/>
                </a:lnTo>
                <a:lnTo>
                  <a:pt x="293" y="105"/>
                </a:lnTo>
                <a:lnTo>
                  <a:pt x="274" y="95"/>
                </a:lnTo>
                <a:lnTo>
                  <a:pt x="274" y="105"/>
                </a:lnTo>
                <a:lnTo>
                  <a:pt x="258" y="95"/>
                </a:lnTo>
                <a:lnTo>
                  <a:pt x="267" y="86"/>
                </a:lnTo>
                <a:lnTo>
                  <a:pt x="258" y="79"/>
                </a:lnTo>
                <a:lnTo>
                  <a:pt x="258" y="69"/>
                </a:lnTo>
                <a:lnTo>
                  <a:pt x="267" y="62"/>
                </a:lnTo>
                <a:lnTo>
                  <a:pt x="258" y="62"/>
                </a:lnTo>
                <a:lnTo>
                  <a:pt x="248" y="62"/>
                </a:lnTo>
                <a:lnTo>
                  <a:pt x="241" y="52"/>
                </a:lnTo>
                <a:lnTo>
                  <a:pt x="232" y="52"/>
                </a:lnTo>
                <a:lnTo>
                  <a:pt x="232" y="62"/>
                </a:lnTo>
                <a:lnTo>
                  <a:pt x="222" y="69"/>
                </a:lnTo>
                <a:lnTo>
                  <a:pt x="222" y="86"/>
                </a:lnTo>
                <a:lnTo>
                  <a:pt x="222" y="95"/>
                </a:lnTo>
                <a:lnTo>
                  <a:pt x="232" y="112"/>
                </a:lnTo>
                <a:lnTo>
                  <a:pt x="222" y="121"/>
                </a:lnTo>
                <a:lnTo>
                  <a:pt x="222" y="131"/>
                </a:lnTo>
                <a:lnTo>
                  <a:pt x="222" y="138"/>
                </a:lnTo>
                <a:lnTo>
                  <a:pt x="232" y="147"/>
                </a:lnTo>
                <a:lnTo>
                  <a:pt x="232" y="154"/>
                </a:lnTo>
                <a:lnTo>
                  <a:pt x="215" y="154"/>
                </a:lnTo>
                <a:lnTo>
                  <a:pt x="206" y="147"/>
                </a:lnTo>
                <a:lnTo>
                  <a:pt x="196" y="147"/>
                </a:lnTo>
                <a:lnTo>
                  <a:pt x="189" y="147"/>
                </a:lnTo>
                <a:lnTo>
                  <a:pt x="196" y="138"/>
                </a:lnTo>
                <a:lnTo>
                  <a:pt x="179" y="138"/>
                </a:lnTo>
                <a:lnTo>
                  <a:pt x="163" y="138"/>
                </a:lnTo>
                <a:lnTo>
                  <a:pt x="153" y="131"/>
                </a:lnTo>
                <a:lnTo>
                  <a:pt x="153" y="138"/>
                </a:lnTo>
                <a:lnTo>
                  <a:pt x="137" y="138"/>
                </a:lnTo>
                <a:lnTo>
                  <a:pt x="137" y="131"/>
                </a:lnTo>
                <a:lnTo>
                  <a:pt x="137" y="112"/>
                </a:lnTo>
                <a:lnTo>
                  <a:pt x="127" y="112"/>
                </a:lnTo>
                <a:lnTo>
                  <a:pt x="120" y="112"/>
                </a:lnTo>
                <a:lnTo>
                  <a:pt x="120" y="105"/>
                </a:lnTo>
                <a:lnTo>
                  <a:pt x="127" y="95"/>
                </a:lnTo>
                <a:lnTo>
                  <a:pt x="120" y="105"/>
                </a:lnTo>
                <a:lnTo>
                  <a:pt x="101" y="95"/>
                </a:lnTo>
                <a:lnTo>
                  <a:pt x="94" y="105"/>
                </a:lnTo>
                <a:lnTo>
                  <a:pt x="94" y="112"/>
                </a:lnTo>
                <a:lnTo>
                  <a:pt x="75" y="112"/>
                </a:lnTo>
                <a:lnTo>
                  <a:pt x="75" y="105"/>
                </a:lnTo>
                <a:lnTo>
                  <a:pt x="59" y="105"/>
                </a:lnTo>
                <a:lnTo>
                  <a:pt x="49" y="105"/>
                </a:lnTo>
                <a:lnTo>
                  <a:pt x="42" y="95"/>
                </a:lnTo>
                <a:lnTo>
                  <a:pt x="33" y="105"/>
                </a:lnTo>
                <a:lnTo>
                  <a:pt x="26" y="105"/>
                </a:lnTo>
                <a:lnTo>
                  <a:pt x="16" y="105"/>
                </a:lnTo>
                <a:lnTo>
                  <a:pt x="7" y="105"/>
                </a:lnTo>
                <a:lnTo>
                  <a:pt x="7" y="112"/>
                </a:lnTo>
                <a:lnTo>
                  <a:pt x="16" y="112"/>
                </a:lnTo>
                <a:lnTo>
                  <a:pt x="26" y="112"/>
                </a:lnTo>
                <a:lnTo>
                  <a:pt x="33" y="112"/>
                </a:lnTo>
                <a:lnTo>
                  <a:pt x="33" y="121"/>
                </a:lnTo>
                <a:lnTo>
                  <a:pt x="33" y="131"/>
                </a:lnTo>
                <a:lnTo>
                  <a:pt x="26" y="131"/>
                </a:lnTo>
                <a:lnTo>
                  <a:pt x="26" y="138"/>
                </a:lnTo>
                <a:lnTo>
                  <a:pt x="16" y="138"/>
                </a:lnTo>
                <a:lnTo>
                  <a:pt x="7" y="138"/>
                </a:lnTo>
                <a:lnTo>
                  <a:pt x="0" y="147"/>
                </a:lnTo>
                <a:lnTo>
                  <a:pt x="7" y="147"/>
                </a:lnTo>
                <a:lnTo>
                  <a:pt x="16" y="154"/>
                </a:lnTo>
                <a:lnTo>
                  <a:pt x="26" y="173"/>
                </a:lnTo>
                <a:lnTo>
                  <a:pt x="26" y="164"/>
                </a:lnTo>
                <a:lnTo>
                  <a:pt x="42" y="173"/>
                </a:lnTo>
                <a:lnTo>
                  <a:pt x="42" y="164"/>
                </a:lnTo>
                <a:lnTo>
                  <a:pt x="49" y="164"/>
                </a:lnTo>
                <a:lnTo>
                  <a:pt x="49" y="173"/>
                </a:lnTo>
                <a:lnTo>
                  <a:pt x="68" y="190"/>
                </a:lnTo>
                <a:lnTo>
                  <a:pt x="75" y="190"/>
                </a:lnTo>
                <a:lnTo>
                  <a:pt x="75" y="199"/>
                </a:lnTo>
                <a:lnTo>
                  <a:pt x="85" y="199"/>
                </a:lnTo>
                <a:lnTo>
                  <a:pt x="85" y="206"/>
                </a:lnTo>
                <a:lnTo>
                  <a:pt x="85" y="216"/>
                </a:lnTo>
                <a:lnTo>
                  <a:pt x="101" y="216"/>
                </a:lnTo>
                <a:lnTo>
                  <a:pt x="120" y="216"/>
                </a:lnTo>
                <a:lnTo>
                  <a:pt x="111" y="225"/>
                </a:lnTo>
                <a:lnTo>
                  <a:pt x="120" y="225"/>
                </a:lnTo>
                <a:lnTo>
                  <a:pt x="127" y="232"/>
                </a:lnTo>
                <a:lnTo>
                  <a:pt x="120" y="249"/>
                </a:lnTo>
                <a:lnTo>
                  <a:pt x="127" y="249"/>
                </a:lnTo>
                <a:lnTo>
                  <a:pt x="137" y="258"/>
                </a:lnTo>
                <a:lnTo>
                  <a:pt x="153" y="258"/>
                </a:lnTo>
                <a:lnTo>
                  <a:pt x="137" y="258"/>
                </a:lnTo>
                <a:lnTo>
                  <a:pt x="137" y="268"/>
                </a:lnTo>
                <a:lnTo>
                  <a:pt x="144" y="268"/>
                </a:lnTo>
                <a:lnTo>
                  <a:pt x="144" y="275"/>
                </a:lnTo>
                <a:lnTo>
                  <a:pt x="127" y="294"/>
                </a:lnTo>
                <a:lnTo>
                  <a:pt x="127" y="301"/>
                </a:lnTo>
                <a:lnTo>
                  <a:pt x="137" y="318"/>
                </a:lnTo>
                <a:lnTo>
                  <a:pt x="144" y="318"/>
                </a:lnTo>
                <a:lnTo>
                  <a:pt x="144" y="337"/>
                </a:lnTo>
                <a:lnTo>
                  <a:pt x="153" y="344"/>
                </a:lnTo>
                <a:lnTo>
                  <a:pt x="153" y="353"/>
                </a:lnTo>
                <a:lnTo>
                  <a:pt x="172" y="363"/>
                </a:lnTo>
                <a:lnTo>
                  <a:pt x="179" y="353"/>
                </a:lnTo>
                <a:lnTo>
                  <a:pt x="179" y="363"/>
                </a:lnTo>
                <a:lnTo>
                  <a:pt x="179" y="370"/>
                </a:lnTo>
                <a:lnTo>
                  <a:pt x="172" y="379"/>
                </a:lnTo>
                <a:lnTo>
                  <a:pt x="179" y="379"/>
                </a:lnTo>
                <a:lnTo>
                  <a:pt x="172" y="389"/>
                </a:lnTo>
                <a:lnTo>
                  <a:pt x="172" y="405"/>
                </a:lnTo>
                <a:lnTo>
                  <a:pt x="172" y="412"/>
                </a:lnTo>
                <a:lnTo>
                  <a:pt x="163" y="422"/>
                </a:lnTo>
                <a:lnTo>
                  <a:pt x="163" y="431"/>
                </a:lnTo>
                <a:lnTo>
                  <a:pt x="172" y="431"/>
                </a:lnTo>
                <a:lnTo>
                  <a:pt x="172" y="438"/>
                </a:lnTo>
                <a:lnTo>
                  <a:pt x="172" y="448"/>
                </a:lnTo>
                <a:lnTo>
                  <a:pt x="179" y="457"/>
                </a:lnTo>
                <a:lnTo>
                  <a:pt x="179" y="464"/>
                </a:lnTo>
                <a:lnTo>
                  <a:pt x="179" y="483"/>
                </a:lnTo>
                <a:lnTo>
                  <a:pt x="179" y="490"/>
                </a:lnTo>
                <a:lnTo>
                  <a:pt x="172" y="483"/>
                </a:lnTo>
                <a:lnTo>
                  <a:pt x="172" y="474"/>
                </a:lnTo>
                <a:lnTo>
                  <a:pt x="172" y="464"/>
                </a:lnTo>
                <a:lnTo>
                  <a:pt x="163" y="457"/>
                </a:lnTo>
                <a:lnTo>
                  <a:pt x="163" y="448"/>
                </a:lnTo>
                <a:lnTo>
                  <a:pt x="153" y="438"/>
                </a:lnTo>
                <a:lnTo>
                  <a:pt x="153" y="431"/>
                </a:lnTo>
                <a:lnTo>
                  <a:pt x="144" y="438"/>
                </a:lnTo>
                <a:lnTo>
                  <a:pt x="144" y="464"/>
                </a:lnTo>
                <a:lnTo>
                  <a:pt x="144" y="474"/>
                </a:lnTo>
                <a:lnTo>
                  <a:pt x="137" y="483"/>
                </a:lnTo>
                <a:lnTo>
                  <a:pt x="137" y="500"/>
                </a:lnTo>
                <a:lnTo>
                  <a:pt x="127" y="500"/>
                </a:lnTo>
                <a:lnTo>
                  <a:pt x="144" y="507"/>
                </a:lnTo>
                <a:lnTo>
                  <a:pt x="137" y="516"/>
                </a:lnTo>
                <a:lnTo>
                  <a:pt x="120" y="516"/>
                </a:lnTo>
                <a:lnTo>
                  <a:pt x="120" y="526"/>
                </a:lnTo>
                <a:lnTo>
                  <a:pt x="120" y="533"/>
                </a:lnTo>
                <a:lnTo>
                  <a:pt x="111" y="542"/>
                </a:lnTo>
                <a:lnTo>
                  <a:pt x="111" y="552"/>
                </a:lnTo>
                <a:lnTo>
                  <a:pt x="101" y="552"/>
                </a:lnTo>
                <a:lnTo>
                  <a:pt x="101" y="568"/>
                </a:lnTo>
                <a:lnTo>
                  <a:pt x="94" y="568"/>
                </a:lnTo>
                <a:lnTo>
                  <a:pt x="85" y="576"/>
                </a:lnTo>
                <a:lnTo>
                  <a:pt x="85" y="585"/>
                </a:lnTo>
                <a:lnTo>
                  <a:pt x="68" y="604"/>
                </a:lnTo>
                <a:lnTo>
                  <a:pt x="49" y="621"/>
                </a:lnTo>
                <a:lnTo>
                  <a:pt x="59" y="628"/>
                </a:lnTo>
                <a:lnTo>
                  <a:pt x="68" y="637"/>
                </a:lnTo>
                <a:lnTo>
                  <a:pt x="68" y="644"/>
                </a:lnTo>
                <a:lnTo>
                  <a:pt x="68" y="654"/>
                </a:lnTo>
                <a:lnTo>
                  <a:pt x="75" y="654"/>
                </a:lnTo>
                <a:lnTo>
                  <a:pt x="85" y="654"/>
                </a:lnTo>
                <a:lnTo>
                  <a:pt x="101" y="673"/>
                </a:lnTo>
                <a:lnTo>
                  <a:pt x="111" y="673"/>
                </a:lnTo>
                <a:lnTo>
                  <a:pt x="120" y="689"/>
                </a:lnTo>
                <a:lnTo>
                  <a:pt x="127" y="689"/>
                </a:lnTo>
                <a:lnTo>
                  <a:pt x="137" y="689"/>
                </a:lnTo>
                <a:lnTo>
                  <a:pt x="144" y="696"/>
                </a:lnTo>
                <a:lnTo>
                  <a:pt x="163" y="715"/>
                </a:lnTo>
                <a:lnTo>
                  <a:pt x="172" y="715"/>
                </a:lnTo>
                <a:lnTo>
                  <a:pt x="189" y="722"/>
                </a:lnTo>
                <a:lnTo>
                  <a:pt x="196" y="722"/>
                </a:lnTo>
                <a:lnTo>
                  <a:pt x="196" y="732"/>
                </a:lnTo>
                <a:lnTo>
                  <a:pt x="217" y="734"/>
                </a:lnTo>
                <a:lnTo>
                  <a:pt x="236" y="727"/>
                </a:lnTo>
                <a:lnTo>
                  <a:pt x="248" y="734"/>
                </a:lnTo>
                <a:lnTo>
                  <a:pt x="250" y="744"/>
                </a:lnTo>
                <a:lnTo>
                  <a:pt x="248" y="758"/>
                </a:lnTo>
                <a:lnTo>
                  <a:pt x="258" y="767"/>
                </a:lnTo>
                <a:lnTo>
                  <a:pt x="267" y="767"/>
                </a:lnTo>
                <a:lnTo>
                  <a:pt x="274" y="767"/>
                </a:lnTo>
                <a:lnTo>
                  <a:pt x="284" y="767"/>
                </a:lnTo>
                <a:lnTo>
                  <a:pt x="293" y="774"/>
                </a:lnTo>
                <a:lnTo>
                  <a:pt x="300" y="784"/>
                </a:lnTo>
                <a:lnTo>
                  <a:pt x="310" y="784"/>
                </a:lnTo>
                <a:lnTo>
                  <a:pt x="326" y="784"/>
                </a:lnTo>
                <a:lnTo>
                  <a:pt x="336" y="791"/>
                </a:lnTo>
                <a:lnTo>
                  <a:pt x="345" y="793"/>
                </a:lnTo>
                <a:lnTo>
                  <a:pt x="352" y="791"/>
                </a:lnTo>
                <a:lnTo>
                  <a:pt x="362" y="791"/>
                </a:lnTo>
                <a:lnTo>
                  <a:pt x="369" y="796"/>
                </a:lnTo>
                <a:lnTo>
                  <a:pt x="378" y="786"/>
                </a:lnTo>
                <a:lnTo>
                  <a:pt x="373" y="784"/>
                </a:lnTo>
                <a:lnTo>
                  <a:pt x="371" y="779"/>
                </a:lnTo>
                <a:lnTo>
                  <a:pt x="369" y="774"/>
                </a:lnTo>
                <a:lnTo>
                  <a:pt x="378" y="767"/>
                </a:lnTo>
                <a:lnTo>
                  <a:pt x="369" y="758"/>
                </a:lnTo>
                <a:lnTo>
                  <a:pt x="378" y="741"/>
                </a:lnTo>
                <a:lnTo>
                  <a:pt x="378" y="732"/>
                </a:lnTo>
                <a:lnTo>
                  <a:pt x="388" y="722"/>
                </a:lnTo>
                <a:lnTo>
                  <a:pt x="395" y="722"/>
                </a:lnTo>
                <a:lnTo>
                  <a:pt x="404" y="715"/>
                </a:lnTo>
                <a:lnTo>
                  <a:pt x="414" y="715"/>
                </a:lnTo>
                <a:lnTo>
                  <a:pt x="421" y="715"/>
                </a:lnTo>
                <a:lnTo>
                  <a:pt x="430" y="715"/>
                </a:lnTo>
                <a:lnTo>
                  <a:pt x="440" y="706"/>
                </a:lnTo>
                <a:lnTo>
                  <a:pt x="447" y="696"/>
                </a:lnTo>
                <a:lnTo>
                  <a:pt x="456" y="696"/>
                </a:lnTo>
                <a:lnTo>
                  <a:pt x="466" y="706"/>
                </a:lnTo>
                <a:lnTo>
                  <a:pt x="473" y="715"/>
                </a:lnTo>
                <a:lnTo>
                  <a:pt x="482" y="715"/>
                </a:lnTo>
                <a:lnTo>
                  <a:pt x="499" y="715"/>
                </a:lnTo>
                <a:lnTo>
                  <a:pt x="499" y="732"/>
                </a:lnTo>
                <a:lnTo>
                  <a:pt x="508" y="722"/>
                </a:lnTo>
                <a:lnTo>
                  <a:pt x="515" y="722"/>
                </a:lnTo>
                <a:lnTo>
                  <a:pt x="525" y="715"/>
                </a:lnTo>
                <a:lnTo>
                  <a:pt x="534" y="715"/>
                </a:lnTo>
                <a:lnTo>
                  <a:pt x="534" y="722"/>
                </a:lnTo>
                <a:lnTo>
                  <a:pt x="534" y="732"/>
                </a:lnTo>
                <a:lnTo>
                  <a:pt x="541" y="732"/>
                </a:lnTo>
                <a:lnTo>
                  <a:pt x="551" y="732"/>
                </a:lnTo>
                <a:lnTo>
                  <a:pt x="551" y="741"/>
                </a:lnTo>
                <a:lnTo>
                  <a:pt x="551" y="748"/>
                </a:lnTo>
                <a:lnTo>
                  <a:pt x="560" y="741"/>
                </a:lnTo>
                <a:lnTo>
                  <a:pt x="567" y="748"/>
                </a:lnTo>
                <a:lnTo>
                  <a:pt x="577" y="758"/>
                </a:lnTo>
                <a:lnTo>
                  <a:pt x="577" y="767"/>
                </a:lnTo>
                <a:lnTo>
                  <a:pt x="586" y="774"/>
                </a:lnTo>
                <a:lnTo>
                  <a:pt x="593" y="774"/>
                </a:lnTo>
                <a:lnTo>
                  <a:pt x="603" y="774"/>
                </a:lnTo>
                <a:lnTo>
                  <a:pt x="612" y="774"/>
                </a:lnTo>
                <a:lnTo>
                  <a:pt x="620" y="774"/>
                </a:lnTo>
                <a:lnTo>
                  <a:pt x="629" y="774"/>
                </a:lnTo>
                <a:lnTo>
                  <a:pt x="638" y="767"/>
                </a:lnTo>
                <a:lnTo>
                  <a:pt x="638" y="758"/>
                </a:lnTo>
                <a:lnTo>
                  <a:pt x="638" y="748"/>
                </a:lnTo>
                <a:lnTo>
                  <a:pt x="646" y="748"/>
                </a:lnTo>
                <a:lnTo>
                  <a:pt x="655" y="748"/>
                </a:lnTo>
                <a:lnTo>
                  <a:pt x="662" y="748"/>
                </a:lnTo>
                <a:lnTo>
                  <a:pt x="662" y="741"/>
                </a:lnTo>
                <a:lnTo>
                  <a:pt x="672" y="741"/>
                </a:lnTo>
                <a:lnTo>
                  <a:pt x="681" y="741"/>
                </a:lnTo>
                <a:lnTo>
                  <a:pt x="681" y="748"/>
                </a:lnTo>
                <a:lnTo>
                  <a:pt x="698" y="732"/>
                </a:lnTo>
                <a:lnTo>
                  <a:pt x="690" y="741"/>
                </a:lnTo>
                <a:lnTo>
                  <a:pt x="698" y="73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4" name="Freeform 504">
            <a:extLst>
              <a:ext uri="{FF2B5EF4-FFF2-40B4-BE49-F238E27FC236}">
                <a16:creationId xmlns:a16="http://schemas.microsoft.com/office/drawing/2014/main" id="{3E3426DC-2E2B-46C0-8C0C-59E263C468F4}"/>
              </a:ext>
            </a:extLst>
          </p:cNvPr>
          <p:cNvSpPr>
            <a:spLocks/>
          </p:cNvSpPr>
          <p:nvPr/>
        </p:nvSpPr>
        <p:spPr bwMode="auto">
          <a:xfrm>
            <a:off x="759416" y="1033950"/>
            <a:ext cx="353571" cy="299243"/>
          </a:xfrm>
          <a:custGeom>
            <a:avLst/>
            <a:gdLst>
              <a:gd name="T0" fmla="*/ 26 w 397"/>
              <a:gd name="T1" fmla="*/ 223 h 336"/>
              <a:gd name="T2" fmla="*/ 59 w 397"/>
              <a:gd name="T3" fmla="*/ 242 h 336"/>
              <a:gd name="T4" fmla="*/ 59 w 397"/>
              <a:gd name="T5" fmla="*/ 275 h 336"/>
              <a:gd name="T6" fmla="*/ 101 w 397"/>
              <a:gd name="T7" fmla="*/ 301 h 336"/>
              <a:gd name="T8" fmla="*/ 130 w 397"/>
              <a:gd name="T9" fmla="*/ 336 h 336"/>
              <a:gd name="T10" fmla="*/ 146 w 397"/>
              <a:gd name="T11" fmla="*/ 327 h 336"/>
              <a:gd name="T12" fmla="*/ 198 w 397"/>
              <a:gd name="T13" fmla="*/ 317 h 336"/>
              <a:gd name="T14" fmla="*/ 241 w 397"/>
              <a:gd name="T15" fmla="*/ 327 h 336"/>
              <a:gd name="T16" fmla="*/ 283 w 397"/>
              <a:gd name="T17" fmla="*/ 317 h 336"/>
              <a:gd name="T18" fmla="*/ 309 w 397"/>
              <a:gd name="T19" fmla="*/ 327 h 336"/>
              <a:gd name="T20" fmla="*/ 352 w 397"/>
              <a:gd name="T21" fmla="*/ 310 h 336"/>
              <a:gd name="T22" fmla="*/ 388 w 397"/>
              <a:gd name="T23" fmla="*/ 284 h 336"/>
              <a:gd name="T24" fmla="*/ 397 w 397"/>
              <a:gd name="T25" fmla="*/ 249 h 336"/>
              <a:gd name="T26" fmla="*/ 371 w 397"/>
              <a:gd name="T27" fmla="*/ 223 h 336"/>
              <a:gd name="T28" fmla="*/ 388 w 397"/>
              <a:gd name="T29" fmla="*/ 206 h 336"/>
              <a:gd name="T30" fmla="*/ 397 w 397"/>
              <a:gd name="T31" fmla="*/ 173 h 336"/>
              <a:gd name="T32" fmla="*/ 371 w 397"/>
              <a:gd name="T33" fmla="*/ 163 h 336"/>
              <a:gd name="T34" fmla="*/ 378 w 397"/>
              <a:gd name="T35" fmla="*/ 128 h 336"/>
              <a:gd name="T36" fmla="*/ 352 w 397"/>
              <a:gd name="T37" fmla="*/ 147 h 336"/>
              <a:gd name="T38" fmla="*/ 326 w 397"/>
              <a:gd name="T39" fmla="*/ 137 h 336"/>
              <a:gd name="T40" fmla="*/ 293 w 397"/>
              <a:gd name="T41" fmla="*/ 128 h 336"/>
              <a:gd name="T42" fmla="*/ 274 w 397"/>
              <a:gd name="T43" fmla="*/ 154 h 336"/>
              <a:gd name="T44" fmla="*/ 267 w 397"/>
              <a:gd name="T45" fmla="*/ 128 h 336"/>
              <a:gd name="T46" fmla="*/ 241 w 397"/>
              <a:gd name="T47" fmla="*/ 102 h 336"/>
              <a:gd name="T48" fmla="*/ 215 w 397"/>
              <a:gd name="T49" fmla="*/ 128 h 336"/>
              <a:gd name="T50" fmla="*/ 205 w 397"/>
              <a:gd name="T51" fmla="*/ 85 h 336"/>
              <a:gd name="T52" fmla="*/ 179 w 397"/>
              <a:gd name="T53" fmla="*/ 111 h 336"/>
              <a:gd name="T54" fmla="*/ 146 w 397"/>
              <a:gd name="T55" fmla="*/ 128 h 336"/>
              <a:gd name="T56" fmla="*/ 146 w 397"/>
              <a:gd name="T57" fmla="*/ 102 h 336"/>
              <a:gd name="T58" fmla="*/ 163 w 397"/>
              <a:gd name="T59" fmla="*/ 76 h 336"/>
              <a:gd name="T60" fmla="*/ 172 w 397"/>
              <a:gd name="T61" fmla="*/ 43 h 336"/>
              <a:gd name="T62" fmla="*/ 137 w 397"/>
              <a:gd name="T63" fmla="*/ 0 h 336"/>
              <a:gd name="T64" fmla="*/ 146 w 397"/>
              <a:gd name="T65" fmla="*/ 36 h 336"/>
              <a:gd name="T66" fmla="*/ 130 w 397"/>
              <a:gd name="T67" fmla="*/ 52 h 336"/>
              <a:gd name="T68" fmla="*/ 120 w 397"/>
              <a:gd name="T69" fmla="*/ 7 h 336"/>
              <a:gd name="T70" fmla="*/ 101 w 397"/>
              <a:gd name="T71" fmla="*/ 36 h 336"/>
              <a:gd name="T72" fmla="*/ 85 w 397"/>
              <a:gd name="T73" fmla="*/ 52 h 336"/>
              <a:gd name="T74" fmla="*/ 68 w 397"/>
              <a:gd name="T75" fmla="*/ 26 h 336"/>
              <a:gd name="T76" fmla="*/ 59 w 397"/>
              <a:gd name="T77" fmla="*/ 36 h 336"/>
              <a:gd name="T78" fmla="*/ 68 w 397"/>
              <a:gd name="T79" fmla="*/ 52 h 336"/>
              <a:gd name="T80" fmla="*/ 111 w 397"/>
              <a:gd name="T81" fmla="*/ 76 h 336"/>
              <a:gd name="T82" fmla="*/ 130 w 397"/>
              <a:gd name="T83" fmla="*/ 102 h 336"/>
              <a:gd name="T84" fmla="*/ 94 w 397"/>
              <a:gd name="T85" fmla="*/ 102 h 336"/>
              <a:gd name="T86" fmla="*/ 94 w 397"/>
              <a:gd name="T87" fmla="*/ 128 h 336"/>
              <a:gd name="T88" fmla="*/ 52 w 397"/>
              <a:gd name="T89" fmla="*/ 102 h 336"/>
              <a:gd name="T90" fmla="*/ 33 w 397"/>
              <a:gd name="T91" fmla="*/ 111 h 336"/>
              <a:gd name="T92" fmla="*/ 68 w 397"/>
              <a:gd name="T93" fmla="*/ 128 h 336"/>
              <a:gd name="T94" fmla="*/ 59 w 397"/>
              <a:gd name="T95" fmla="*/ 173 h 336"/>
              <a:gd name="T96" fmla="*/ 52 w 397"/>
              <a:gd name="T97" fmla="*/ 190 h 336"/>
              <a:gd name="T98" fmla="*/ 16 w 397"/>
              <a:gd name="T99" fmla="*/ 199 h 3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397" h="336">
                <a:moveTo>
                  <a:pt x="0" y="206"/>
                </a:moveTo>
                <a:lnTo>
                  <a:pt x="7" y="213"/>
                </a:lnTo>
                <a:lnTo>
                  <a:pt x="16" y="213"/>
                </a:lnTo>
                <a:lnTo>
                  <a:pt x="26" y="223"/>
                </a:lnTo>
                <a:lnTo>
                  <a:pt x="33" y="232"/>
                </a:lnTo>
                <a:lnTo>
                  <a:pt x="42" y="242"/>
                </a:lnTo>
                <a:lnTo>
                  <a:pt x="52" y="242"/>
                </a:lnTo>
                <a:lnTo>
                  <a:pt x="59" y="242"/>
                </a:lnTo>
                <a:lnTo>
                  <a:pt x="59" y="249"/>
                </a:lnTo>
                <a:lnTo>
                  <a:pt x="59" y="258"/>
                </a:lnTo>
                <a:lnTo>
                  <a:pt x="59" y="268"/>
                </a:lnTo>
                <a:lnTo>
                  <a:pt x="59" y="275"/>
                </a:lnTo>
                <a:lnTo>
                  <a:pt x="68" y="284"/>
                </a:lnTo>
                <a:lnTo>
                  <a:pt x="85" y="301"/>
                </a:lnTo>
                <a:lnTo>
                  <a:pt x="94" y="301"/>
                </a:lnTo>
                <a:lnTo>
                  <a:pt x="101" y="301"/>
                </a:lnTo>
                <a:lnTo>
                  <a:pt x="101" y="310"/>
                </a:lnTo>
                <a:lnTo>
                  <a:pt x="101" y="317"/>
                </a:lnTo>
                <a:lnTo>
                  <a:pt x="120" y="327"/>
                </a:lnTo>
                <a:lnTo>
                  <a:pt x="130" y="336"/>
                </a:lnTo>
                <a:lnTo>
                  <a:pt x="130" y="327"/>
                </a:lnTo>
                <a:lnTo>
                  <a:pt x="137" y="317"/>
                </a:lnTo>
                <a:lnTo>
                  <a:pt x="137" y="327"/>
                </a:lnTo>
                <a:lnTo>
                  <a:pt x="146" y="327"/>
                </a:lnTo>
                <a:lnTo>
                  <a:pt x="163" y="317"/>
                </a:lnTo>
                <a:lnTo>
                  <a:pt x="172" y="317"/>
                </a:lnTo>
                <a:lnTo>
                  <a:pt x="189" y="327"/>
                </a:lnTo>
                <a:lnTo>
                  <a:pt x="198" y="317"/>
                </a:lnTo>
                <a:lnTo>
                  <a:pt x="205" y="327"/>
                </a:lnTo>
                <a:lnTo>
                  <a:pt x="224" y="327"/>
                </a:lnTo>
                <a:lnTo>
                  <a:pt x="224" y="336"/>
                </a:lnTo>
                <a:lnTo>
                  <a:pt x="241" y="327"/>
                </a:lnTo>
                <a:lnTo>
                  <a:pt x="250" y="317"/>
                </a:lnTo>
                <a:lnTo>
                  <a:pt x="267" y="327"/>
                </a:lnTo>
                <a:lnTo>
                  <a:pt x="274" y="327"/>
                </a:lnTo>
                <a:lnTo>
                  <a:pt x="283" y="317"/>
                </a:lnTo>
                <a:lnTo>
                  <a:pt x="293" y="327"/>
                </a:lnTo>
                <a:lnTo>
                  <a:pt x="293" y="336"/>
                </a:lnTo>
                <a:lnTo>
                  <a:pt x="302" y="327"/>
                </a:lnTo>
                <a:lnTo>
                  <a:pt x="309" y="327"/>
                </a:lnTo>
                <a:lnTo>
                  <a:pt x="326" y="317"/>
                </a:lnTo>
                <a:lnTo>
                  <a:pt x="336" y="301"/>
                </a:lnTo>
                <a:lnTo>
                  <a:pt x="345" y="310"/>
                </a:lnTo>
                <a:lnTo>
                  <a:pt x="352" y="310"/>
                </a:lnTo>
                <a:lnTo>
                  <a:pt x="371" y="310"/>
                </a:lnTo>
                <a:lnTo>
                  <a:pt x="371" y="294"/>
                </a:lnTo>
                <a:lnTo>
                  <a:pt x="378" y="284"/>
                </a:lnTo>
                <a:lnTo>
                  <a:pt x="388" y="284"/>
                </a:lnTo>
                <a:lnTo>
                  <a:pt x="388" y="275"/>
                </a:lnTo>
                <a:lnTo>
                  <a:pt x="388" y="268"/>
                </a:lnTo>
                <a:lnTo>
                  <a:pt x="397" y="258"/>
                </a:lnTo>
                <a:lnTo>
                  <a:pt x="397" y="249"/>
                </a:lnTo>
                <a:lnTo>
                  <a:pt x="388" y="242"/>
                </a:lnTo>
                <a:lnTo>
                  <a:pt x="388" y="232"/>
                </a:lnTo>
                <a:lnTo>
                  <a:pt x="388" y="223"/>
                </a:lnTo>
                <a:lnTo>
                  <a:pt x="371" y="223"/>
                </a:lnTo>
                <a:lnTo>
                  <a:pt x="371" y="213"/>
                </a:lnTo>
                <a:lnTo>
                  <a:pt x="378" y="206"/>
                </a:lnTo>
                <a:lnTo>
                  <a:pt x="388" y="213"/>
                </a:lnTo>
                <a:lnTo>
                  <a:pt x="388" y="206"/>
                </a:lnTo>
                <a:lnTo>
                  <a:pt x="378" y="199"/>
                </a:lnTo>
                <a:lnTo>
                  <a:pt x="378" y="190"/>
                </a:lnTo>
                <a:lnTo>
                  <a:pt x="378" y="180"/>
                </a:lnTo>
                <a:lnTo>
                  <a:pt x="397" y="173"/>
                </a:lnTo>
                <a:lnTo>
                  <a:pt x="397" y="163"/>
                </a:lnTo>
                <a:lnTo>
                  <a:pt x="388" y="173"/>
                </a:lnTo>
                <a:lnTo>
                  <a:pt x="371" y="173"/>
                </a:lnTo>
                <a:lnTo>
                  <a:pt x="371" y="163"/>
                </a:lnTo>
                <a:lnTo>
                  <a:pt x="371" y="154"/>
                </a:lnTo>
                <a:lnTo>
                  <a:pt x="378" y="147"/>
                </a:lnTo>
                <a:lnTo>
                  <a:pt x="378" y="137"/>
                </a:lnTo>
                <a:lnTo>
                  <a:pt x="378" y="128"/>
                </a:lnTo>
                <a:lnTo>
                  <a:pt x="378" y="137"/>
                </a:lnTo>
                <a:lnTo>
                  <a:pt x="362" y="128"/>
                </a:lnTo>
                <a:lnTo>
                  <a:pt x="362" y="137"/>
                </a:lnTo>
                <a:lnTo>
                  <a:pt x="352" y="147"/>
                </a:lnTo>
                <a:lnTo>
                  <a:pt x="345" y="154"/>
                </a:lnTo>
                <a:lnTo>
                  <a:pt x="336" y="154"/>
                </a:lnTo>
                <a:lnTo>
                  <a:pt x="326" y="147"/>
                </a:lnTo>
                <a:lnTo>
                  <a:pt x="326" y="137"/>
                </a:lnTo>
                <a:lnTo>
                  <a:pt x="309" y="147"/>
                </a:lnTo>
                <a:lnTo>
                  <a:pt x="293" y="154"/>
                </a:lnTo>
                <a:lnTo>
                  <a:pt x="283" y="154"/>
                </a:lnTo>
                <a:lnTo>
                  <a:pt x="293" y="128"/>
                </a:lnTo>
                <a:lnTo>
                  <a:pt x="283" y="121"/>
                </a:lnTo>
                <a:lnTo>
                  <a:pt x="283" y="128"/>
                </a:lnTo>
                <a:lnTo>
                  <a:pt x="274" y="147"/>
                </a:lnTo>
                <a:lnTo>
                  <a:pt x="274" y="154"/>
                </a:lnTo>
                <a:lnTo>
                  <a:pt x="267" y="163"/>
                </a:lnTo>
                <a:lnTo>
                  <a:pt x="257" y="154"/>
                </a:lnTo>
                <a:lnTo>
                  <a:pt x="257" y="137"/>
                </a:lnTo>
                <a:lnTo>
                  <a:pt x="267" y="128"/>
                </a:lnTo>
                <a:lnTo>
                  <a:pt x="267" y="111"/>
                </a:lnTo>
                <a:lnTo>
                  <a:pt x="257" y="102"/>
                </a:lnTo>
                <a:lnTo>
                  <a:pt x="250" y="111"/>
                </a:lnTo>
                <a:lnTo>
                  <a:pt x="241" y="102"/>
                </a:lnTo>
                <a:lnTo>
                  <a:pt x="241" y="111"/>
                </a:lnTo>
                <a:lnTo>
                  <a:pt x="231" y="121"/>
                </a:lnTo>
                <a:lnTo>
                  <a:pt x="224" y="128"/>
                </a:lnTo>
                <a:lnTo>
                  <a:pt x="215" y="128"/>
                </a:lnTo>
                <a:lnTo>
                  <a:pt x="215" y="121"/>
                </a:lnTo>
                <a:lnTo>
                  <a:pt x="215" y="111"/>
                </a:lnTo>
                <a:lnTo>
                  <a:pt x="215" y="95"/>
                </a:lnTo>
                <a:lnTo>
                  <a:pt x="205" y="85"/>
                </a:lnTo>
                <a:lnTo>
                  <a:pt x="198" y="102"/>
                </a:lnTo>
                <a:lnTo>
                  <a:pt x="189" y="121"/>
                </a:lnTo>
                <a:lnTo>
                  <a:pt x="179" y="121"/>
                </a:lnTo>
                <a:lnTo>
                  <a:pt x="179" y="111"/>
                </a:lnTo>
                <a:lnTo>
                  <a:pt x="172" y="111"/>
                </a:lnTo>
                <a:lnTo>
                  <a:pt x="163" y="111"/>
                </a:lnTo>
                <a:lnTo>
                  <a:pt x="146" y="137"/>
                </a:lnTo>
                <a:lnTo>
                  <a:pt x="146" y="128"/>
                </a:lnTo>
                <a:lnTo>
                  <a:pt x="137" y="128"/>
                </a:lnTo>
                <a:lnTo>
                  <a:pt x="137" y="121"/>
                </a:lnTo>
                <a:lnTo>
                  <a:pt x="146" y="111"/>
                </a:lnTo>
                <a:lnTo>
                  <a:pt x="146" y="102"/>
                </a:lnTo>
                <a:lnTo>
                  <a:pt x="146" y="95"/>
                </a:lnTo>
                <a:lnTo>
                  <a:pt x="146" y="76"/>
                </a:lnTo>
                <a:lnTo>
                  <a:pt x="156" y="76"/>
                </a:lnTo>
                <a:lnTo>
                  <a:pt x="163" y="76"/>
                </a:lnTo>
                <a:lnTo>
                  <a:pt x="172" y="59"/>
                </a:lnTo>
                <a:lnTo>
                  <a:pt x="163" y="59"/>
                </a:lnTo>
                <a:lnTo>
                  <a:pt x="163" y="52"/>
                </a:lnTo>
                <a:lnTo>
                  <a:pt x="172" y="43"/>
                </a:lnTo>
                <a:lnTo>
                  <a:pt x="172" y="36"/>
                </a:lnTo>
                <a:lnTo>
                  <a:pt x="172" y="17"/>
                </a:lnTo>
                <a:lnTo>
                  <a:pt x="156" y="0"/>
                </a:lnTo>
                <a:lnTo>
                  <a:pt x="137" y="0"/>
                </a:lnTo>
                <a:lnTo>
                  <a:pt x="146" y="7"/>
                </a:lnTo>
                <a:lnTo>
                  <a:pt x="156" y="26"/>
                </a:lnTo>
                <a:lnTo>
                  <a:pt x="146" y="26"/>
                </a:lnTo>
                <a:lnTo>
                  <a:pt x="146" y="36"/>
                </a:lnTo>
                <a:lnTo>
                  <a:pt x="146" y="43"/>
                </a:lnTo>
                <a:lnTo>
                  <a:pt x="146" y="52"/>
                </a:lnTo>
                <a:lnTo>
                  <a:pt x="137" y="59"/>
                </a:lnTo>
                <a:lnTo>
                  <a:pt x="130" y="52"/>
                </a:lnTo>
                <a:lnTo>
                  <a:pt x="130" y="36"/>
                </a:lnTo>
                <a:lnTo>
                  <a:pt x="120" y="43"/>
                </a:lnTo>
                <a:lnTo>
                  <a:pt x="120" y="26"/>
                </a:lnTo>
                <a:lnTo>
                  <a:pt x="120" y="7"/>
                </a:lnTo>
                <a:lnTo>
                  <a:pt x="120" y="17"/>
                </a:lnTo>
                <a:lnTo>
                  <a:pt x="111" y="17"/>
                </a:lnTo>
                <a:lnTo>
                  <a:pt x="101" y="7"/>
                </a:lnTo>
                <a:lnTo>
                  <a:pt x="101" y="36"/>
                </a:lnTo>
                <a:lnTo>
                  <a:pt x="85" y="26"/>
                </a:lnTo>
                <a:lnTo>
                  <a:pt x="94" y="36"/>
                </a:lnTo>
                <a:lnTo>
                  <a:pt x="101" y="43"/>
                </a:lnTo>
                <a:lnTo>
                  <a:pt x="85" y="52"/>
                </a:lnTo>
                <a:lnTo>
                  <a:pt x="78" y="52"/>
                </a:lnTo>
                <a:lnTo>
                  <a:pt x="78" y="43"/>
                </a:lnTo>
                <a:lnTo>
                  <a:pt x="78" y="36"/>
                </a:lnTo>
                <a:lnTo>
                  <a:pt x="68" y="26"/>
                </a:lnTo>
                <a:lnTo>
                  <a:pt x="68" y="36"/>
                </a:lnTo>
                <a:lnTo>
                  <a:pt x="68" y="43"/>
                </a:lnTo>
                <a:lnTo>
                  <a:pt x="59" y="43"/>
                </a:lnTo>
                <a:lnTo>
                  <a:pt x="59" y="36"/>
                </a:lnTo>
                <a:lnTo>
                  <a:pt x="52" y="43"/>
                </a:lnTo>
                <a:lnTo>
                  <a:pt x="52" y="52"/>
                </a:lnTo>
                <a:lnTo>
                  <a:pt x="59" y="52"/>
                </a:lnTo>
                <a:lnTo>
                  <a:pt x="68" y="52"/>
                </a:lnTo>
                <a:lnTo>
                  <a:pt x="78" y="59"/>
                </a:lnTo>
                <a:lnTo>
                  <a:pt x="94" y="59"/>
                </a:lnTo>
                <a:lnTo>
                  <a:pt x="101" y="69"/>
                </a:lnTo>
                <a:lnTo>
                  <a:pt x="111" y="76"/>
                </a:lnTo>
                <a:lnTo>
                  <a:pt x="111" y="85"/>
                </a:lnTo>
                <a:lnTo>
                  <a:pt x="120" y="85"/>
                </a:lnTo>
                <a:lnTo>
                  <a:pt x="130" y="85"/>
                </a:lnTo>
                <a:lnTo>
                  <a:pt x="130" y="102"/>
                </a:lnTo>
                <a:lnTo>
                  <a:pt x="120" y="102"/>
                </a:lnTo>
                <a:lnTo>
                  <a:pt x="101" y="95"/>
                </a:lnTo>
                <a:lnTo>
                  <a:pt x="85" y="95"/>
                </a:lnTo>
                <a:lnTo>
                  <a:pt x="94" y="102"/>
                </a:lnTo>
                <a:lnTo>
                  <a:pt x="101" y="111"/>
                </a:lnTo>
                <a:lnTo>
                  <a:pt x="111" y="121"/>
                </a:lnTo>
                <a:lnTo>
                  <a:pt x="101" y="128"/>
                </a:lnTo>
                <a:lnTo>
                  <a:pt x="94" y="128"/>
                </a:lnTo>
                <a:lnTo>
                  <a:pt x="85" y="121"/>
                </a:lnTo>
                <a:lnTo>
                  <a:pt x="78" y="111"/>
                </a:lnTo>
                <a:lnTo>
                  <a:pt x="68" y="111"/>
                </a:lnTo>
                <a:lnTo>
                  <a:pt x="52" y="102"/>
                </a:lnTo>
                <a:lnTo>
                  <a:pt x="33" y="95"/>
                </a:lnTo>
                <a:lnTo>
                  <a:pt x="16" y="102"/>
                </a:lnTo>
                <a:lnTo>
                  <a:pt x="16" y="111"/>
                </a:lnTo>
                <a:lnTo>
                  <a:pt x="33" y="111"/>
                </a:lnTo>
                <a:lnTo>
                  <a:pt x="52" y="111"/>
                </a:lnTo>
                <a:lnTo>
                  <a:pt x="59" y="121"/>
                </a:lnTo>
                <a:lnTo>
                  <a:pt x="59" y="128"/>
                </a:lnTo>
                <a:lnTo>
                  <a:pt x="68" y="128"/>
                </a:lnTo>
                <a:lnTo>
                  <a:pt x="68" y="137"/>
                </a:lnTo>
                <a:lnTo>
                  <a:pt x="68" y="147"/>
                </a:lnTo>
                <a:lnTo>
                  <a:pt x="59" y="154"/>
                </a:lnTo>
                <a:lnTo>
                  <a:pt x="59" y="173"/>
                </a:lnTo>
                <a:lnTo>
                  <a:pt x="68" y="163"/>
                </a:lnTo>
                <a:lnTo>
                  <a:pt x="68" y="173"/>
                </a:lnTo>
                <a:lnTo>
                  <a:pt x="59" y="180"/>
                </a:lnTo>
                <a:lnTo>
                  <a:pt x="52" y="190"/>
                </a:lnTo>
                <a:lnTo>
                  <a:pt x="42" y="190"/>
                </a:lnTo>
                <a:lnTo>
                  <a:pt x="33" y="190"/>
                </a:lnTo>
                <a:lnTo>
                  <a:pt x="26" y="190"/>
                </a:lnTo>
                <a:lnTo>
                  <a:pt x="16" y="199"/>
                </a:lnTo>
                <a:lnTo>
                  <a:pt x="7" y="190"/>
                </a:lnTo>
                <a:lnTo>
                  <a:pt x="0" y="20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5" name="Freeform 505">
            <a:extLst>
              <a:ext uri="{FF2B5EF4-FFF2-40B4-BE49-F238E27FC236}">
                <a16:creationId xmlns:a16="http://schemas.microsoft.com/office/drawing/2014/main" id="{19F757FD-E820-4545-A81C-F711CBDA881A}"/>
              </a:ext>
            </a:extLst>
          </p:cNvPr>
          <p:cNvSpPr>
            <a:spLocks/>
          </p:cNvSpPr>
          <p:nvPr/>
        </p:nvSpPr>
        <p:spPr bwMode="auto">
          <a:xfrm>
            <a:off x="704201" y="2125835"/>
            <a:ext cx="284103" cy="269854"/>
          </a:xfrm>
          <a:custGeom>
            <a:avLst/>
            <a:gdLst>
              <a:gd name="T0" fmla="*/ 312 w 319"/>
              <a:gd name="T1" fmla="*/ 147 h 303"/>
              <a:gd name="T2" fmla="*/ 303 w 319"/>
              <a:gd name="T3" fmla="*/ 166 h 303"/>
              <a:gd name="T4" fmla="*/ 293 w 319"/>
              <a:gd name="T5" fmla="*/ 199 h 303"/>
              <a:gd name="T6" fmla="*/ 286 w 319"/>
              <a:gd name="T7" fmla="*/ 225 h 303"/>
              <a:gd name="T8" fmla="*/ 286 w 319"/>
              <a:gd name="T9" fmla="*/ 251 h 303"/>
              <a:gd name="T10" fmla="*/ 267 w 319"/>
              <a:gd name="T11" fmla="*/ 268 h 303"/>
              <a:gd name="T12" fmla="*/ 251 w 319"/>
              <a:gd name="T13" fmla="*/ 287 h 303"/>
              <a:gd name="T14" fmla="*/ 208 w 319"/>
              <a:gd name="T15" fmla="*/ 287 h 303"/>
              <a:gd name="T16" fmla="*/ 163 w 319"/>
              <a:gd name="T17" fmla="*/ 287 h 303"/>
              <a:gd name="T18" fmla="*/ 147 w 319"/>
              <a:gd name="T19" fmla="*/ 287 h 303"/>
              <a:gd name="T20" fmla="*/ 130 w 319"/>
              <a:gd name="T21" fmla="*/ 303 h 303"/>
              <a:gd name="T22" fmla="*/ 95 w 319"/>
              <a:gd name="T23" fmla="*/ 303 h 303"/>
              <a:gd name="T24" fmla="*/ 62 w 319"/>
              <a:gd name="T25" fmla="*/ 294 h 303"/>
              <a:gd name="T26" fmla="*/ 45 w 319"/>
              <a:gd name="T27" fmla="*/ 287 h 303"/>
              <a:gd name="T28" fmla="*/ 45 w 319"/>
              <a:gd name="T29" fmla="*/ 287 h 303"/>
              <a:gd name="T30" fmla="*/ 26 w 319"/>
              <a:gd name="T31" fmla="*/ 277 h 303"/>
              <a:gd name="T32" fmla="*/ 26 w 319"/>
              <a:gd name="T33" fmla="*/ 261 h 303"/>
              <a:gd name="T34" fmla="*/ 36 w 319"/>
              <a:gd name="T35" fmla="*/ 261 h 303"/>
              <a:gd name="T36" fmla="*/ 10 w 319"/>
              <a:gd name="T37" fmla="*/ 261 h 303"/>
              <a:gd name="T38" fmla="*/ 19 w 319"/>
              <a:gd name="T39" fmla="*/ 235 h 303"/>
              <a:gd name="T40" fmla="*/ 45 w 319"/>
              <a:gd name="T41" fmla="*/ 235 h 303"/>
              <a:gd name="T42" fmla="*/ 10 w 319"/>
              <a:gd name="T43" fmla="*/ 225 h 303"/>
              <a:gd name="T44" fmla="*/ 26 w 319"/>
              <a:gd name="T45" fmla="*/ 209 h 303"/>
              <a:gd name="T46" fmla="*/ 69 w 319"/>
              <a:gd name="T47" fmla="*/ 199 h 303"/>
              <a:gd name="T48" fmla="*/ 104 w 319"/>
              <a:gd name="T49" fmla="*/ 209 h 303"/>
              <a:gd name="T50" fmla="*/ 95 w 319"/>
              <a:gd name="T51" fmla="*/ 199 h 303"/>
              <a:gd name="T52" fmla="*/ 62 w 319"/>
              <a:gd name="T53" fmla="*/ 199 h 303"/>
              <a:gd name="T54" fmla="*/ 88 w 319"/>
              <a:gd name="T55" fmla="*/ 173 h 303"/>
              <a:gd name="T56" fmla="*/ 130 w 319"/>
              <a:gd name="T57" fmla="*/ 156 h 303"/>
              <a:gd name="T58" fmla="*/ 104 w 319"/>
              <a:gd name="T59" fmla="*/ 147 h 303"/>
              <a:gd name="T60" fmla="*/ 88 w 319"/>
              <a:gd name="T61" fmla="*/ 140 h 303"/>
              <a:gd name="T62" fmla="*/ 88 w 319"/>
              <a:gd name="T63" fmla="*/ 104 h 303"/>
              <a:gd name="T64" fmla="*/ 114 w 319"/>
              <a:gd name="T65" fmla="*/ 88 h 303"/>
              <a:gd name="T66" fmla="*/ 114 w 319"/>
              <a:gd name="T67" fmla="*/ 78 h 303"/>
              <a:gd name="T68" fmla="*/ 114 w 319"/>
              <a:gd name="T69" fmla="*/ 62 h 303"/>
              <a:gd name="T70" fmla="*/ 147 w 319"/>
              <a:gd name="T71" fmla="*/ 55 h 303"/>
              <a:gd name="T72" fmla="*/ 173 w 319"/>
              <a:gd name="T73" fmla="*/ 78 h 303"/>
              <a:gd name="T74" fmla="*/ 199 w 319"/>
              <a:gd name="T75" fmla="*/ 71 h 303"/>
              <a:gd name="T76" fmla="*/ 225 w 319"/>
              <a:gd name="T77" fmla="*/ 55 h 303"/>
              <a:gd name="T78" fmla="*/ 192 w 319"/>
              <a:gd name="T79" fmla="*/ 36 h 303"/>
              <a:gd name="T80" fmla="*/ 234 w 319"/>
              <a:gd name="T81" fmla="*/ 19 h 303"/>
              <a:gd name="T82" fmla="*/ 251 w 319"/>
              <a:gd name="T83" fmla="*/ 10 h 303"/>
              <a:gd name="T84" fmla="*/ 286 w 319"/>
              <a:gd name="T85" fmla="*/ 10 h 303"/>
              <a:gd name="T86" fmla="*/ 303 w 319"/>
              <a:gd name="T87" fmla="*/ 0 h 303"/>
              <a:gd name="T88" fmla="*/ 312 w 319"/>
              <a:gd name="T89" fmla="*/ 29 h 303"/>
              <a:gd name="T90" fmla="*/ 303 w 319"/>
              <a:gd name="T91" fmla="*/ 36 h 303"/>
              <a:gd name="T92" fmla="*/ 267 w 319"/>
              <a:gd name="T93" fmla="*/ 45 h 303"/>
              <a:gd name="T94" fmla="*/ 251 w 319"/>
              <a:gd name="T95" fmla="*/ 71 h 303"/>
              <a:gd name="T96" fmla="*/ 234 w 319"/>
              <a:gd name="T97" fmla="*/ 71 h 303"/>
              <a:gd name="T98" fmla="*/ 241 w 319"/>
              <a:gd name="T99" fmla="*/ 97 h 303"/>
              <a:gd name="T100" fmla="*/ 267 w 319"/>
              <a:gd name="T101" fmla="*/ 104 h 303"/>
              <a:gd name="T102" fmla="*/ 303 w 319"/>
              <a:gd name="T103" fmla="*/ 114 h 303"/>
              <a:gd name="T104" fmla="*/ 319 w 319"/>
              <a:gd name="T105" fmla="*/ 147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19" h="303">
                <a:moveTo>
                  <a:pt x="319" y="147"/>
                </a:moveTo>
                <a:lnTo>
                  <a:pt x="312" y="156"/>
                </a:lnTo>
                <a:lnTo>
                  <a:pt x="312" y="147"/>
                </a:lnTo>
                <a:lnTo>
                  <a:pt x="303" y="147"/>
                </a:lnTo>
                <a:lnTo>
                  <a:pt x="312" y="156"/>
                </a:lnTo>
                <a:lnTo>
                  <a:pt x="303" y="166"/>
                </a:lnTo>
                <a:lnTo>
                  <a:pt x="303" y="173"/>
                </a:lnTo>
                <a:lnTo>
                  <a:pt x="303" y="192"/>
                </a:lnTo>
                <a:lnTo>
                  <a:pt x="293" y="199"/>
                </a:lnTo>
                <a:lnTo>
                  <a:pt x="293" y="209"/>
                </a:lnTo>
                <a:lnTo>
                  <a:pt x="293" y="216"/>
                </a:lnTo>
                <a:lnTo>
                  <a:pt x="286" y="225"/>
                </a:lnTo>
                <a:lnTo>
                  <a:pt x="286" y="235"/>
                </a:lnTo>
                <a:lnTo>
                  <a:pt x="286" y="244"/>
                </a:lnTo>
                <a:lnTo>
                  <a:pt x="286" y="251"/>
                </a:lnTo>
                <a:lnTo>
                  <a:pt x="277" y="251"/>
                </a:lnTo>
                <a:lnTo>
                  <a:pt x="277" y="261"/>
                </a:lnTo>
                <a:lnTo>
                  <a:pt x="267" y="268"/>
                </a:lnTo>
                <a:lnTo>
                  <a:pt x="260" y="268"/>
                </a:lnTo>
                <a:lnTo>
                  <a:pt x="260" y="277"/>
                </a:lnTo>
                <a:lnTo>
                  <a:pt x="251" y="287"/>
                </a:lnTo>
                <a:lnTo>
                  <a:pt x="234" y="294"/>
                </a:lnTo>
                <a:lnTo>
                  <a:pt x="225" y="287"/>
                </a:lnTo>
                <a:lnTo>
                  <a:pt x="208" y="287"/>
                </a:lnTo>
                <a:lnTo>
                  <a:pt x="192" y="287"/>
                </a:lnTo>
                <a:lnTo>
                  <a:pt x="173" y="287"/>
                </a:lnTo>
                <a:lnTo>
                  <a:pt x="163" y="287"/>
                </a:lnTo>
                <a:lnTo>
                  <a:pt x="156" y="294"/>
                </a:lnTo>
                <a:lnTo>
                  <a:pt x="147" y="294"/>
                </a:lnTo>
                <a:lnTo>
                  <a:pt x="147" y="287"/>
                </a:lnTo>
                <a:lnTo>
                  <a:pt x="140" y="294"/>
                </a:lnTo>
                <a:lnTo>
                  <a:pt x="130" y="294"/>
                </a:lnTo>
                <a:lnTo>
                  <a:pt x="130" y="303"/>
                </a:lnTo>
                <a:lnTo>
                  <a:pt x="114" y="303"/>
                </a:lnTo>
                <a:lnTo>
                  <a:pt x="104" y="294"/>
                </a:lnTo>
                <a:lnTo>
                  <a:pt x="95" y="303"/>
                </a:lnTo>
                <a:lnTo>
                  <a:pt x="78" y="303"/>
                </a:lnTo>
                <a:lnTo>
                  <a:pt x="69" y="294"/>
                </a:lnTo>
                <a:lnTo>
                  <a:pt x="62" y="294"/>
                </a:lnTo>
                <a:lnTo>
                  <a:pt x="45" y="303"/>
                </a:lnTo>
                <a:lnTo>
                  <a:pt x="45" y="294"/>
                </a:lnTo>
                <a:lnTo>
                  <a:pt x="45" y="287"/>
                </a:lnTo>
                <a:lnTo>
                  <a:pt x="19" y="294"/>
                </a:lnTo>
                <a:lnTo>
                  <a:pt x="26" y="294"/>
                </a:lnTo>
                <a:lnTo>
                  <a:pt x="45" y="287"/>
                </a:lnTo>
                <a:lnTo>
                  <a:pt x="19" y="287"/>
                </a:lnTo>
                <a:lnTo>
                  <a:pt x="36" y="277"/>
                </a:lnTo>
                <a:lnTo>
                  <a:pt x="26" y="277"/>
                </a:lnTo>
                <a:lnTo>
                  <a:pt x="19" y="277"/>
                </a:lnTo>
                <a:lnTo>
                  <a:pt x="19" y="268"/>
                </a:lnTo>
                <a:lnTo>
                  <a:pt x="26" y="261"/>
                </a:lnTo>
                <a:lnTo>
                  <a:pt x="36" y="261"/>
                </a:lnTo>
                <a:lnTo>
                  <a:pt x="45" y="261"/>
                </a:lnTo>
                <a:lnTo>
                  <a:pt x="36" y="261"/>
                </a:lnTo>
                <a:lnTo>
                  <a:pt x="26" y="261"/>
                </a:lnTo>
                <a:lnTo>
                  <a:pt x="19" y="251"/>
                </a:lnTo>
                <a:lnTo>
                  <a:pt x="10" y="261"/>
                </a:lnTo>
                <a:lnTo>
                  <a:pt x="0" y="251"/>
                </a:lnTo>
                <a:lnTo>
                  <a:pt x="10" y="244"/>
                </a:lnTo>
                <a:lnTo>
                  <a:pt x="19" y="235"/>
                </a:lnTo>
                <a:lnTo>
                  <a:pt x="26" y="235"/>
                </a:lnTo>
                <a:lnTo>
                  <a:pt x="36" y="235"/>
                </a:lnTo>
                <a:lnTo>
                  <a:pt x="45" y="235"/>
                </a:lnTo>
                <a:lnTo>
                  <a:pt x="36" y="225"/>
                </a:lnTo>
                <a:lnTo>
                  <a:pt x="19" y="225"/>
                </a:lnTo>
                <a:lnTo>
                  <a:pt x="10" y="225"/>
                </a:lnTo>
                <a:lnTo>
                  <a:pt x="10" y="216"/>
                </a:lnTo>
                <a:lnTo>
                  <a:pt x="19" y="209"/>
                </a:lnTo>
                <a:lnTo>
                  <a:pt x="26" y="209"/>
                </a:lnTo>
                <a:lnTo>
                  <a:pt x="52" y="209"/>
                </a:lnTo>
                <a:lnTo>
                  <a:pt x="52" y="199"/>
                </a:lnTo>
                <a:lnTo>
                  <a:pt x="69" y="199"/>
                </a:lnTo>
                <a:lnTo>
                  <a:pt x="78" y="199"/>
                </a:lnTo>
                <a:lnTo>
                  <a:pt x="88" y="209"/>
                </a:lnTo>
                <a:lnTo>
                  <a:pt x="104" y="209"/>
                </a:lnTo>
                <a:lnTo>
                  <a:pt x="114" y="209"/>
                </a:lnTo>
                <a:lnTo>
                  <a:pt x="104" y="199"/>
                </a:lnTo>
                <a:lnTo>
                  <a:pt x="95" y="199"/>
                </a:lnTo>
                <a:lnTo>
                  <a:pt x="88" y="199"/>
                </a:lnTo>
                <a:lnTo>
                  <a:pt x="78" y="192"/>
                </a:lnTo>
                <a:lnTo>
                  <a:pt x="62" y="199"/>
                </a:lnTo>
                <a:lnTo>
                  <a:pt x="52" y="192"/>
                </a:lnTo>
                <a:lnTo>
                  <a:pt x="69" y="192"/>
                </a:lnTo>
                <a:lnTo>
                  <a:pt x="88" y="173"/>
                </a:lnTo>
                <a:lnTo>
                  <a:pt x="114" y="166"/>
                </a:lnTo>
                <a:lnTo>
                  <a:pt x="121" y="166"/>
                </a:lnTo>
                <a:lnTo>
                  <a:pt x="130" y="156"/>
                </a:lnTo>
                <a:lnTo>
                  <a:pt x="130" y="147"/>
                </a:lnTo>
                <a:lnTo>
                  <a:pt x="121" y="147"/>
                </a:lnTo>
                <a:lnTo>
                  <a:pt x="104" y="147"/>
                </a:lnTo>
                <a:lnTo>
                  <a:pt x="95" y="156"/>
                </a:lnTo>
                <a:lnTo>
                  <a:pt x="95" y="140"/>
                </a:lnTo>
                <a:lnTo>
                  <a:pt x="88" y="140"/>
                </a:lnTo>
                <a:lnTo>
                  <a:pt x="88" y="130"/>
                </a:lnTo>
                <a:lnTo>
                  <a:pt x="78" y="114"/>
                </a:lnTo>
                <a:lnTo>
                  <a:pt x="88" y="104"/>
                </a:lnTo>
                <a:lnTo>
                  <a:pt x="95" y="104"/>
                </a:lnTo>
                <a:lnTo>
                  <a:pt x="104" y="97"/>
                </a:lnTo>
                <a:lnTo>
                  <a:pt x="114" y="88"/>
                </a:lnTo>
                <a:lnTo>
                  <a:pt x="121" y="88"/>
                </a:lnTo>
                <a:lnTo>
                  <a:pt x="114" y="88"/>
                </a:lnTo>
                <a:lnTo>
                  <a:pt x="114" y="78"/>
                </a:lnTo>
                <a:lnTo>
                  <a:pt x="114" y="71"/>
                </a:lnTo>
                <a:lnTo>
                  <a:pt x="104" y="62"/>
                </a:lnTo>
                <a:lnTo>
                  <a:pt x="114" y="62"/>
                </a:lnTo>
                <a:lnTo>
                  <a:pt x="121" y="45"/>
                </a:lnTo>
                <a:lnTo>
                  <a:pt x="140" y="45"/>
                </a:lnTo>
                <a:lnTo>
                  <a:pt x="147" y="55"/>
                </a:lnTo>
                <a:lnTo>
                  <a:pt x="156" y="62"/>
                </a:lnTo>
                <a:lnTo>
                  <a:pt x="156" y="71"/>
                </a:lnTo>
                <a:lnTo>
                  <a:pt x="173" y="78"/>
                </a:lnTo>
                <a:lnTo>
                  <a:pt x="182" y="88"/>
                </a:lnTo>
                <a:lnTo>
                  <a:pt x="199" y="78"/>
                </a:lnTo>
                <a:lnTo>
                  <a:pt x="199" y="71"/>
                </a:lnTo>
                <a:lnTo>
                  <a:pt x="199" y="62"/>
                </a:lnTo>
                <a:lnTo>
                  <a:pt x="218" y="62"/>
                </a:lnTo>
                <a:lnTo>
                  <a:pt x="225" y="55"/>
                </a:lnTo>
                <a:lnTo>
                  <a:pt x="218" y="55"/>
                </a:lnTo>
                <a:lnTo>
                  <a:pt x="199" y="45"/>
                </a:lnTo>
                <a:lnTo>
                  <a:pt x="192" y="36"/>
                </a:lnTo>
                <a:lnTo>
                  <a:pt x="218" y="29"/>
                </a:lnTo>
                <a:lnTo>
                  <a:pt x="225" y="19"/>
                </a:lnTo>
                <a:lnTo>
                  <a:pt x="234" y="19"/>
                </a:lnTo>
                <a:lnTo>
                  <a:pt x="225" y="19"/>
                </a:lnTo>
                <a:lnTo>
                  <a:pt x="234" y="10"/>
                </a:lnTo>
                <a:lnTo>
                  <a:pt x="251" y="10"/>
                </a:lnTo>
                <a:lnTo>
                  <a:pt x="260" y="0"/>
                </a:lnTo>
                <a:lnTo>
                  <a:pt x="277" y="10"/>
                </a:lnTo>
                <a:lnTo>
                  <a:pt x="286" y="10"/>
                </a:lnTo>
                <a:lnTo>
                  <a:pt x="293" y="10"/>
                </a:lnTo>
                <a:lnTo>
                  <a:pt x="303" y="10"/>
                </a:lnTo>
                <a:lnTo>
                  <a:pt x="303" y="0"/>
                </a:lnTo>
                <a:lnTo>
                  <a:pt x="312" y="10"/>
                </a:lnTo>
                <a:lnTo>
                  <a:pt x="319" y="19"/>
                </a:lnTo>
                <a:lnTo>
                  <a:pt x="312" y="29"/>
                </a:lnTo>
                <a:lnTo>
                  <a:pt x="303" y="29"/>
                </a:lnTo>
                <a:lnTo>
                  <a:pt x="293" y="29"/>
                </a:lnTo>
                <a:lnTo>
                  <a:pt x="303" y="36"/>
                </a:lnTo>
                <a:lnTo>
                  <a:pt x="293" y="36"/>
                </a:lnTo>
                <a:lnTo>
                  <a:pt x="277" y="36"/>
                </a:lnTo>
                <a:lnTo>
                  <a:pt x="267" y="45"/>
                </a:lnTo>
                <a:lnTo>
                  <a:pt x="260" y="55"/>
                </a:lnTo>
                <a:lnTo>
                  <a:pt x="260" y="62"/>
                </a:lnTo>
                <a:lnTo>
                  <a:pt x="251" y="71"/>
                </a:lnTo>
                <a:lnTo>
                  <a:pt x="241" y="62"/>
                </a:lnTo>
                <a:lnTo>
                  <a:pt x="234" y="62"/>
                </a:lnTo>
                <a:lnTo>
                  <a:pt x="234" y="71"/>
                </a:lnTo>
                <a:lnTo>
                  <a:pt x="225" y="78"/>
                </a:lnTo>
                <a:lnTo>
                  <a:pt x="234" y="88"/>
                </a:lnTo>
                <a:lnTo>
                  <a:pt x="241" y="97"/>
                </a:lnTo>
                <a:lnTo>
                  <a:pt x="251" y="104"/>
                </a:lnTo>
                <a:lnTo>
                  <a:pt x="260" y="114"/>
                </a:lnTo>
                <a:lnTo>
                  <a:pt x="267" y="104"/>
                </a:lnTo>
                <a:lnTo>
                  <a:pt x="277" y="104"/>
                </a:lnTo>
                <a:lnTo>
                  <a:pt x="286" y="104"/>
                </a:lnTo>
                <a:lnTo>
                  <a:pt x="303" y="114"/>
                </a:lnTo>
                <a:lnTo>
                  <a:pt x="303" y="123"/>
                </a:lnTo>
                <a:lnTo>
                  <a:pt x="312" y="130"/>
                </a:lnTo>
                <a:lnTo>
                  <a:pt x="319" y="14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6" name="Freeform 506">
            <a:extLst>
              <a:ext uri="{FF2B5EF4-FFF2-40B4-BE49-F238E27FC236}">
                <a16:creationId xmlns:a16="http://schemas.microsoft.com/office/drawing/2014/main" id="{D750F61C-F04D-4141-A7E5-9C4D80E0EFDC}"/>
              </a:ext>
            </a:extLst>
          </p:cNvPr>
          <p:cNvSpPr>
            <a:spLocks/>
          </p:cNvSpPr>
          <p:nvPr/>
        </p:nvSpPr>
        <p:spPr bwMode="auto">
          <a:xfrm>
            <a:off x="901916" y="2151659"/>
            <a:ext cx="130919" cy="106873"/>
          </a:xfrm>
          <a:custGeom>
            <a:avLst/>
            <a:gdLst>
              <a:gd name="T0" fmla="*/ 79 w 147"/>
              <a:gd name="T1" fmla="*/ 7 h 120"/>
              <a:gd name="T2" fmla="*/ 69 w 147"/>
              <a:gd name="T3" fmla="*/ 7 h 120"/>
              <a:gd name="T4" fmla="*/ 53 w 147"/>
              <a:gd name="T5" fmla="*/ 7 h 120"/>
              <a:gd name="T6" fmla="*/ 45 w 147"/>
              <a:gd name="T7" fmla="*/ 16 h 120"/>
              <a:gd name="T8" fmla="*/ 36 w 147"/>
              <a:gd name="T9" fmla="*/ 26 h 120"/>
              <a:gd name="T10" fmla="*/ 36 w 147"/>
              <a:gd name="T11" fmla="*/ 33 h 120"/>
              <a:gd name="T12" fmla="*/ 26 w 147"/>
              <a:gd name="T13" fmla="*/ 42 h 120"/>
              <a:gd name="T14" fmla="*/ 17 w 147"/>
              <a:gd name="T15" fmla="*/ 33 h 120"/>
              <a:gd name="T16" fmla="*/ 10 w 147"/>
              <a:gd name="T17" fmla="*/ 33 h 120"/>
              <a:gd name="T18" fmla="*/ 10 w 147"/>
              <a:gd name="T19" fmla="*/ 42 h 120"/>
              <a:gd name="T20" fmla="*/ 0 w 147"/>
              <a:gd name="T21" fmla="*/ 52 h 120"/>
              <a:gd name="T22" fmla="*/ 10 w 147"/>
              <a:gd name="T23" fmla="*/ 59 h 120"/>
              <a:gd name="T24" fmla="*/ 17 w 147"/>
              <a:gd name="T25" fmla="*/ 68 h 120"/>
              <a:gd name="T26" fmla="*/ 26 w 147"/>
              <a:gd name="T27" fmla="*/ 75 h 120"/>
              <a:gd name="T28" fmla="*/ 36 w 147"/>
              <a:gd name="T29" fmla="*/ 85 h 120"/>
              <a:gd name="T30" fmla="*/ 45 w 147"/>
              <a:gd name="T31" fmla="*/ 75 h 120"/>
              <a:gd name="T32" fmla="*/ 53 w 147"/>
              <a:gd name="T33" fmla="*/ 75 h 120"/>
              <a:gd name="T34" fmla="*/ 62 w 147"/>
              <a:gd name="T35" fmla="*/ 75 h 120"/>
              <a:gd name="T36" fmla="*/ 79 w 147"/>
              <a:gd name="T37" fmla="*/ 85 h 120"/>
              <a:gd name="T38" fmla="*/ 79 w 147"/>
              <a:gd name="T39" fmla="*/ 94 h 120"/>
              <a:gd name="T40" fmla="*/ 88 w 147"/>
              <a:gd name="T41" fmla="*/ 101 h 120"/>
              <a:gd name="T42" fmla="*/ 95 w 147"/>
              <a:gd name="T43" fmla="*/ 120 h 120"/>
              <a:gd name="T44" fmla="*/ 105 w 147"/>
              <a:gd name="T45" fmla="*/ 111 h 120"/>
              <a:gd name="T46" fmla="*/ 112 w 147"/>
              <a:gd name="T47" fmla="*/ 101 h 120"/>
              <a:gd name="T48" fmla="*/ 121 w 147"/>
              <a:gd name="T49" fmla="*/ 101 h 120"/>
              <a:gd name="T50" fmla="*/ 131 w 147"/>
              <a:gd name="T51" fmla="*/ 101 h 120"/>
              <a:gd name="T52" fmla="*/ 131 w 147"/>
              <a:gd name="T53" fmla="*/ 85 h 120"/>
              <a:gd name="T54" fmla="*/ 140 w 147"/>
              <a:gd name="T55" fmla="*/ 75 h 120"/>
              <a:gd name="T56" fmla="*/ 140 w 147"/>
              <a:gd name="T57" fmla="*/ 85 h 120"/>
              <a:gd name="T58" fmla="*/ 140 w 147"/>
              <a:gd name="T59" fmla="*/ 94 h 120"/>
              <a:gd name="T60" fmla="*/ 147 w 147"/>
              <a:gd name="T61" fmla="*/ 94 h 120"/>
              <a:gd name="T62" fmla="*/ 147 w 147"/>
              <a:gd name="T63" fmla="*/ 85 h 120"/>
              <a:gd name="T64" fmla="*/ 147 w 147"/>
              <a:gd name="T65" fmla="*/ 75 h 120"/>
              <a:gd name="T66" fmla="*/ 140 w 147"/>
              <a:gd name="T67" fmla="*/ 68 h 120"/>
              <a:gd name="T68" fmla="*/ 131 w 147"/>
              <a:gd name="T69" fmla="*/ 75 h 120"/>
              <a:gd name="T70" fmla="*/ 121 w 147"/>
              <a:gd name="T71" fmla="*/ 68 h 120"/>
              <a:gd name="T72" fmla="*/ 131 w 147"/>
              <a:gd name="T73" fmla="*/ 59 h 120"/>
              <a:gd name="T74" fmla="*/ 140 w 147"/>
              <a:gd name="T75" fmla="*/ 59 h 120"/>
              <a:gd name="T76" fmla="*/ 140 w 147"/>
              <a:gd name="T77" fmla="*/ 52 h 120"/>
              <a:gd name="T78" fmla="*/ 140 w 147"/>
              <a:gd name="T79" fmla="*/ 42 h 120"/>
              <a:gd name="T80" fmla="*/ 131 w 147"/>
              <a:gd name="T81" fmla="*/ 26 h 120"/>
              <a:gd name="T82" fmla="*/ 131 w 147"/>
              <a:gd name="T83" fmla="*/ 16 h 120"/>
              <a:gd name="T84" fmla="*/ 131 w 147"/>
              <a:gd name="T85" fmla="*/ 7 h 120"/>
              <a:gd name="T86" fmla="*/ 121 w 147"/>
              <a:gd name="T87" fmla="*/ 7 h 120"/>
              <a:gd name="T88" fmla="*/ 112 w 147"/>
              <a:gd name="T89" fmla="*/ 7 h 120"/>
              <a:gd name="T90" fmla="*/ 105 w 147"/>
              <a:gd name="T91" fmla="*/ 7 h 120"/>
              <a:gd name="T92" fmla="*/ 105 w 147"/>
              <a:gd name="T93" fmla="*/ 0 h 120"/>
              <a:gd name="T94" fmla="*/ 95 w 147"/>
              <a:gd name="T95" fmla="*/ 0 h 120"/>
              <a:gd name="T96" fmla="*/ 88 w 147"/>
              <a:gd name="T97" fmla="*/ 7 h 120"/>
              <a:gd name="T98" fmla="*/ 79 w 147"/>
              <a:gd name="T99" fmla="*/ 7 h 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47" h="120">
                <a:moveTo>
                  <a:pt x="79" y="7"/>
                </a:moveTo>
                <a:lnTo>
                  <a:pt x="69" y="7"/>
                </a:lnTo>
                <a:lnTo>
                  <a:pt x="53" y="7"/>
                </a:lnTo>
                <a:lnTo>
                  <a:pt x="45" y="16"/>
                </a:lnTo>
                <a:lnTo>
                  <a:pt x="36" y="26"/>
                </a:lnTo>
                <a:lnTo>
                  <a:pt x="36" y="33"/>
                </a:lnTo>
                <a:lnTo>
                  <a:pt x="26" y="42"/>
                </a:lnTo>
                <a:lnTo>
                  <a:pt x="17" y="33"/>
                </a:lnTo>
                <a:lnTo>
                  <a:pt x="10" y="33"/>
                </a:lnTo>
                <a:lnTo>
                  <a:pt x="10" y="42"/>
                </a:lnTo>
                <a:lnTo>
                  <a:pt x="0" y="52"/>
                </a:lnTo>
                <a:lnTo>
                  <a:pt x="10" y="59"/>
                </a:lnTo>
                <a:lnTo>
                  <a:pt x="17" y="68"/>
                </a:lnTo>
                <a:lnTo>
                  <a:pt x="26" y="75"/>
                </a:lnTo>
                <a:lnTo>
                  <a:pt x="36" y="85"/>
                </a:lnTo>
                <a:lnTo>
                  <a:pt x="45" y="75"/>
                </a:lnTo>
                <a:lnTo>
                  <a:pt x="53" y="75"/>
                </a:lnTo>
                <a:lnTo>
                  <a:pt x="62" y="75"/>
                </a:lnTo>
                <a:lnTo>
                  <a:pt x="79" y="85"/>
                </a:lnTo>
                <a:lnTo>
                  <a:pt x="79" y="94"/>
                </a:lnTo>
                <a:lnTo>
                  <a:pt x="88" y="101"/>
                </a:lnTo>
                <a:lnTo>
                  <a:pt x="95" y="120"/>
                </a:lnTo>
                <a:lnTo>
                  <a:pt x="105" y="111"/>
                </a:lnTo>
                <a:lnTo>
                  <a:pt x="112" y="101"/>
                </a:lnTo>
                <a:lnTo>
                  <a:pt x="121" y="101"/>
                </a:lnTo>
                <a:lnTo>
                  <a:pt x="131" y="101"/>
                </a:lnTo>
                <a:lnTo>
                  <a:pt x="131" y="85"/>
                </a:lnTo>
                <a:lnTo>
                  <a:pt x="140" y="75"/>
                </a:lnTo>
                <a:lnTo>
                  <a:pt x="140" y="85"/>
                </a:lnTo>
                <a:lnTo>
                  <a:pt x="140" y="94"/>
                </a:lnTo>
                <a:lnTo>
                  <a:pt x="147" y="94"/>
                </a:lnTo>
                <a:lnTo>
                  <a:pt x="147" y="85"/>
                </a:lnTo>
                <a:lnTo>
                  <a:pt x="147" y="75"/>
                </a:lnTo>
                <a:lnTo>
                  <a:pt x="140" y="68"/>
                </a:lnTo>
                <a:lnTo>
                  <a:pt x="131" y="75"/>
                </a:lnTo>
                <a:lnTo>
                  <a:pt x="121" y="68"/>
                </a:lnTo>
                <a:lnTo>
                  <a:pt x="131" y="59"/>
                </a:lnTo>
                <a:lnTo>
                  <a:pt x="140" y="59"/>
                </a:lnTo>
                <a:lnTo>
                  <a:pt x="140" y="52"/>
                </a:lnTo>
                <a:lnTo>
                  <a:pt x="140" y="42"/>
                </a:lnTo>
                <a:lnTo>
                  <a:pt x="131" y="26"/>
                </a:lnTo>
                <a:lnTo>
                  <a:pt x="131" y="16"/>
                </a:lnTo>
                <a:lnTo>
                  <a:pt x="131" y="7"/>
                </a:lnTo>
                <a:lnTo>
                  <a:pt x="121" y="7"/>
                </a:lnTo>
                <a:lnTo>
                  <a:pt x="112" y="7"/>
                </a:lnTo>
                <a:lnTo>
                  <a:pt x="105" y="7"/>
                </a:lnTo>
                <a:lnTo>
                  <a:pt x="105" y="0"/>
                </a:lnTo>
                <a:lnTo>
                  <a:pt x="95" y="0"/>
                </a:lnTo>
                <a:lnTo>
                  <a:pt x="88" y="7"/>
                </a:lnTo>
                <a:lnTo>
                  <a:pt x="79" y="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7" name="Freeform 507">
            <a:extLst>
              <a:ext uri="{FF2B5EF4-FFF2-40B4-BE49-F238E27FC236}">
                <a16:creationId xmlns:a16="http://schemas.microsoft.com/office/drawing/2014/main" id="{3FAA48B9-4F5B-4B26-9042-982E3E55D413}"/>
              </a:ext>
            </a:extLst>
          </p:cNvPr>
          <p:cNvSpPr>
            <a:spLocks/>
          </p:cNvSpPr>
          <p:nvPr/>
        </p:nvSpPr>
        <p:spPr bwMode="auto">
          <a:xfrm>
            <a:off x="1552948" y="3359321"/>
            <a:ext cx="59671" cy="111326"/>
          </a:xfrm>
          <a:custGeom>
            <a:avLst/>
            <a:gdLst>
              <a:gd name="T0" fmla="*/ 24 w 67"/>
              <a:gd name="T1" fmla="*/ 116 h 125"/>
              <a:gd name="T2" fmla="*/ 17 w 67"/>
              <a:gd name="T3" fmla="*/ 114 h 125"/>
              <a:gd name="T4" fmla="*/ 12 w 67"/>
              <a:gd name="T5" fmla="*/ 106 h 125"/>
              <a:gd name="T6" fmla="*/ 12 w 67"/>
              <a:gd name="T7" fmla="*/ 97 h 125"/>
              <a:gd name="T8" fmla="*/ 5 w 67"/>
              <a:gd name="T9" fmla="*/ 90 h 125"/>
              <a:gd name="T10" fmla="*/ 0 w 67"/>
              <a:gd name="T11" fmla="*/ 80 h 125"/>
              <a:gd name="T12" fmla="*/ 8 w 67"/>
              <a:gd name="T13" fmla="*/ 76 h 125"/>
              <a:gd name="T14" fmla="*/ 5 w 67"/>
              <a:gd name="T15" fmla="*/ 73 h 125"/>
              <a:gd name="T16" fmla="*/ 5 w 67"/>
              <a:gd name="T17" fmla="*/ 64 h 125"/>
              <a:gd name="T18" fmla="*/ 3 w 67"/>
              <a:gd name="T19" fmla="*/ 57 h 125"/>
              <a:gd name="T20" fmla="*/ 0 w 67"/>
              <a:gd name="T21" fmla="*/ 47 h 125"/>
              <a:gd name="T22" fmla="*/ 3 w 67"/>
              <a:gd name="T23" fmla="*/ 38 h 125"/>
              <a:gd name="T24" fmla="*/ 0 w 67"/>
              <a:gd name="T25" fmla="*/ 31 h 125"/>
              <a:gd name="T26" fmla="*/ 8 w 67"/>
              <a:gd name="T27" fmla="*/ 24 h 125"/>
              <a:gd name="T28" fmla="*/ 15 w 67"/>
              <a:gd name="T29" fmla="*/ 14 h 125"/>
              <a:gd name="T30" fmla="*/ 24 w 67"/>
              <a:gd name="T31" fmla="*/ 12 h 125"/>
              <a:gd name="T32" fmla="*/ 26 w 67"/>
              <a:gd name="T33" fmla="*/ 7 h 125"/>
              <a:gd name="T34" fmla="*/ 31 w 67"/>
              <a:gd name="T35" fmla="*/ 5 h 125"/>
              <a:gd name="T36" fmla="*/ 41 w 67"/>
              <a:gd name="T37" fmla="*/ 5 h 125"/>
              <a:gd name="T38" fmla="*/ 50 w 67"/>
              <a:gd name="T39" fmla="*/ 0 h 125"/>
              <a:gd name="T40" fmla="*/ 57 w 67"/>
              <a:gd name="T41" fmla="*/ 2 h 125"/>
              <a:gd name="T42" fmla="*/ 60 w 67"/>
              <a:gd name="T43" fmla="*/ 0 h 125"/>
              <a:gd name="T44" fmla="*/ 62 w 67"/>
              <a:gd name="T45" fmla="*/ 5 h 125"/>
              <a:gd name="T46" fmla="*/ 67 w 67"/>
              <a:gd name="T47" fmla="*/ 12 h 125"/>
              <a:gd name="T48" fmla="*/ 67 w 67"/>
              <a:gd name="T49" fmla="*/ 21 h 125"/>
              <a:gd name="T50" fmla="*/ 67 w 67"/>
              <a:gd name="T51" fmla="*/ 31 h 125"/>
              <a:gd name="T52" fmla="*/ 67 w 67"/>
              <a:gd name="T53" fmla="*/ 47 h 125"/>
              <a:gd name="T54" fmla="*/ 57 w 67"/>
              <a:gd name="T55" fmla="*/ 57 h 125"/>
              <a:gd name="T56" fmla="*/ 50 w 67"/>
              <a:gd name="T57" fmla="*/ 64 h 125"/>
              <a:gd name="T58" fmla="*/ 50 w 67"/>
              <a:gd name="T59" fmla="*/ 73 h 125"/>
              <a:gd name="T60" fmla="*/ 50 w 67"/>
              <a:gd name="T61" fmla="*/ 80 h 125"/>
              <a:gd name="T62" fmla="*/ 41 w 67"/>
              <a:gd name="T63" fmla="*/ 99 h 125"/>
              <a:gd name="T64" fmla="*/ 41 w 67"/>
              <a:gd name="T65" fmla="*/ 106 h 125"/>
              <a:gd name="T66" fmla="*/ 31 w 67"/>
              <a:gd name="T67" fmla="*/ 116 h 125"/>
              <a:gd name="T68" fmla="*/ 31 w 67"/>
              <a:gd name="T69" fmla="*/ 125 h 125"/>
              <a:gd name="T70" fmla="*/ 24 w 67"/>
              <a:gd name="T71" fmla="*/ 116 h 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" h="125">
                <a:moveTo>
                  <a:pt x="24" y="116"/>
                </a:moveTo>
                <a:lnTo>
                  <a:pt x="17" y="114"/>
                </a:lnTo>
                <a:lnTo>
                  <a:pt x="12" y="106"/>
                </a:lnTo>
                <a:lnTo>
                  <a:pt x="12" y="97"/>
                </a:lnTo>
                <a:lnTo>
                  <a:pt x="5" y="90"/>
                </a:lnTo>
                <a:lnTo>
                  <a:pt x="0" y="80"/>
                </a:lnTo>
                <a:lnTo>
                  <a:pt x="8" y="76"/>
                </a:lnTo>
                <a:lnTo>
                  <a:pt x="5" y="73"/>
                </a:lnTo>
                <a:lnTo>
                  <a:pt x="5" y="64"/>
                </a:lnTo>
                <a:lnTo>
                  <a:pt x="3" y="57"/>
                </a:lnTo>
                <a:lnTo>
                  <a:pt x="0" y="47"/>
                </a:lnTo>
                <a:lnTo>
                  <a:pt x="3" y="38"/>
                </a:lnTo>
                <a:lnTo>
                  <a:pt x="0" y="31"/>
                </a:lnTo>
                <a:lnTo>
                  <a:pt x="8" y="24"/>
                </a:lnTo>
                <a:lnTo>
                  <a:pt x="15" y="14"/>
                </a:lnTo>
                <a:lnTo>
                  <a:pt x="24" y="12"/>
                </a:lnTo>
                <a:lnTo>
                  <a:pt x="26" y="7"/>
                </a:lnTo>
                <a:lnTo>
                  <a:pt x="31" y="5"/>
                </a:lnTo>
                <a:lnTo>
                  <a:pt x="41" y="5"/>
                </a:lnTo>
                <a:lnTo>
                  <a:pt x="50" y="0"/>
                </a:lnTo>
                <a:lnTo>
                  <a:pt x="57" y="2"/>
                </a:lnTo>
                <a:lnTo>
                  <a:pt x="60" y="0"/>
                </a:lnTo>
                <a:lnTo>
                  <a:pt x="62" y="5"/>
                </a:lnTo>
                <a:lnTo>
                  <a:pt x="67" y="12"/>
                </a:lnTo>
                <a:lnTo>
                  <a:pt x="67" y="21"/>
                </a:lnTo>
                <a:lnTo>
                  <a:pt x="67" y="31"/>
                </a:lnTo>
                <a:lnTo>
                  <a:pt x="67" y="47"/>
                </a:lnTo>
                <a:lnTo>
                  <a:pt x="57" y="57"/>
                </a:lnTo>
                <a:lnTo>
                  <a:pt x="50" y="64"/>
                </a:lnTo>
                <a:lnTo>
                  <a:pt x="50" y="73"/>
                </a:lnTo>
                <a:lnTo>
                  <a:pt x="50" y="80"/>
                </a:lnTo>
                <a:lnTo>
                  <a:pt x="41" y="99"/>
                </a:lnTo>
                <a:lnTo>
                  <a:pt x="41" y="106"/>
                </a:lnTo>
                <a:lnTo>
                  <a:pt x="31" y="116"/>
                </a:lnTo>
                <a:lnTo>
                  <a:pt x="31" y="125"/>
                </a:lnTo>
                <a:lnTo>
                  <a:pt x="24" y="11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8" name="Freeform 508">
            <a:extLst>
              <a:ext uri="{FF2B5EF4-FFF2-40B4-BE49-F238E27FC236}">
                <a16:creationId xmlns:a16="http://schemas.microsoft.com/office/drawing/2014/main" id="{5670630E-A08D-4A5A-A65A-617D46343476}"/>
              </a:ext>
            </a:extLst>
          </p:cNvPr>
          <p:cNvSpPr>
            <a:spLocks/>
          </p:cNvSpPr>
          <p:nvPr/>
        </p:nvSpPr>
        <p:spPr bwMode="auto">
          <a:xfrm>
            <a:off x="1496837" y="3477769"/>
            <a:ext cx="106873" cy="185246"/>
          </a:xfrm>
          <a:custGeom>
            <a:avLst/>
            <a:gdLst>
              <a:gd name="T0" fmla="*/ 9 w 120"/>
              <a:gd name="T1" fmla="*/ 26 h 208"/>
              <a:gd name="T2" fmla="*/ 16 w 120"/>
              <a:gd name="T3" fmla="*/ 35 h 208"/>
              <a:gd name="T4" fmla="*/ 26 w 120"/>
              <a:gd name="T5" fmla="*/ 26 h 208"/>
              <a:gd name="T6" fmla="*/ 42 w 120"/>
              <a:gd name="T7" fmla="*/ 26 h 208"/>
              <a:gd name="T8" fmla="*/ 52 w 120"/>
              <a:gd name="T9" fmla="*/ 26 h 208"/>
              <a:gd name="T10" fmla="*/ 61 w 120"/>
              <a:gd name="T11" fmla="*/ 16 h 208"/>
              <a:gd name="T12" fmla="*/ 68 w 120"/>
              <a:gd name="T13" fmla="*/ 16 h 208"/>
              <a:gd name="T14" fmla="*/ 78 w 120"/>
              <a:gd name="T15" fmla="*/ 16 h 208"/>
              <a:gd name="T16" fmla="*/ 78 w 120"/>
              <a:gd name="T17" fmla="*/ 9 h 208"/>
              <a:gd name="T18" fmla="*/ 87 w 120"/>
              <a:gd name="T19" fmla="*/ 9 h 208"/>
              <a:gd name="T20" fmla="*/ 94 w 120"/>
              <a:gd name="T21" fmla="*/ 0 h 208"/>
              <a:gd name="T22" fmla="*/ 94 w 120"/>
              <a:gd name="T23" fmla="*/ 9 h 208"/>
              <a:gd name="T24" fmla="*/ 104 w 120"/>
              <a:gd name="T25" fmla="*/ 16 h 208"/>
              <a:gd name="T26" fmla="*/ 113 w 120"/>
              <a:gd name="T27" fmla="*/ 26 h 208"/>
              <a:gd name="T28" fmla="*/ 104 w 120"/>
              <a:gd name="T29" fmla="*/ 26 h 208"/>
              <a:gd name="T30" fmla="*/ 113 w 120"/>
              <a:gd name="T31" fmla="*/ 35 h 208"/>
              <a:gd name="T32" fmla="*/ 113 w 120"/>
              <a:gd name="T33" fmla="*/ 42 h 208"/>
              <a:gd name="T34" fmla="*/ 120 w 120"/>
              <a:gd name="T35" fmla="*/ 42 h 208"/>
              <a:gd name="T36" fmla="*/ 120 w 120"/>
              <a:gd name="T37" fmla="*/ 52 h 208"/>
              <a:gd name="T38" fmla="*/ 113 w 120"/>
              <a:gd name="T39" fmla="*/ 71 h 208"/>
              <a:gd name="T40" fmla="*/ 120 w 120"/>
              <a:gd name="T41" fmla="*/ 71 h 208"/>
              <a:gd name="T42" fmla="*/ 120 w 120"/>
              <a:gd name="T43" fmla="*/ 78 h 208"/>
              <a:gd name="T44" fmla="*/ 113 w 120"/>
              <a:gd name="T45" fmla="*/ 87 h 208"/>
              <a:gd name="T46" fmla="*/ 104 w 120"/>
              <a:gd name="T47" fmla="*/ 87 h 208"/>
              <a:gd name="T48" fmla="*/ 104 w 120"/>
              <a:gd name="T49" fmla="*/ 94 h 208"/>
              <a:gd name="T50" fmla="*/ 104 w 120"/>
              <a:gd name="T51" fmla="*/ 104 h 208"/>
              <a:gd name="T52" fmla="*/ 104 w 120"/>
              <a:gd name="T53" fmla="*/ 113 h 208"/>
              <a:gd name="T54" fmla="*/ 104 w 120"/>
              <a:gd name="T55" fmla="*/ 120 h 208"/>
              <a:gd name="T56" fmla="*/ 104 w 120"/>
              <a:gd name="T57" fmla="*/ 130 h 208"/>
              <a:gd name="T58" fmla="*/ 94 w 120"/>
              <a:gd name="T59" fmla="*/ 146 h 208"/>
              <a:gd name="T60" fmla="*/ 94 w 120"/>
              <a:gd name="T61" fmla="*/ 163 h 208"/>
              <a:gd name="T62" fmla="*/ 94 w 120"/>
              <a:gd name="T63" fmla="*/ 182 h 208"/>
              <a:gd name="T64" fmla="*/ 94 w 120"/>
              <a:gd name="T65" fmla="*/ 189 h 208"/>
              <a:gd name="T66" fmla="*/ 87 w 120"/>
              <a:gd name="T67" fmla="*/ 198 h 208"/>
              <a:gd name="T68" fmla="*/ 78 w 120"/>
              <a:gd name="T69" fmla="*/ 189 h 208"/>
              <a:gd name="T70" fmla="*/ 68 w 120"/>
              <a:gd name="T71" fmla="*/ 189 h 208"/>
              <a:gd name="T72" fmla="*/ 52 w 120"/>
              <a:gd name="T73" fmla="*/ 182 h 208"/>
              <a:gd name="T74" fmla="*/ 42 w 120"/>
              <a:gd name="T75" fmla="*/ 189 h 208"/>
              <a:gd name="T76" fmla="*/ 42 w 120"/>
              <a:gd name="T77" fmla="*/ 198 h 208"/>
              <a:gd name="T78" fmla="*/ 42 w 120"/>
              <a:gd name="T79" fmla="*/ 208 h 208"/>
              <a:gd name="T80" fmla="*/ 35 w 120"/>
              <a:gd name="T81" fmla="*/ 208 h 208"/>
              <a:gd name="T82" fmla="*/ 26 w 120"/>
              <a:gd name="T83" fmla="*/ 208 h 208"/>
              <a:gd name="T84" fmla="*/ 9 w 120"/>
              <a:gd name="T85" fmla="*/ 198 h 208"/>
              <a:gd name="T86" fmla="*/ 9 w 120"/>
              <a:gd name="T87" fmla="*/ 189 h 208"/>
              <a:gd name="T88" fmla="*/ 9 w 120"/>
              <a:gd name="T89" fmla="*/ 182 h 208"/>
              <a:gd name="T90" fmla="*/ 0 w 120"/>
              <a:gd name="T91" fmla="*/ 172 h 208"/>
              <a:gd name="T92" fmla="*/ 9 w 120"/>
              <a:gd name="T93" fmla="*/ 156 h 208"/>
              <a:gd name="T94" fmla="*/ 0 w 120"/>
              <a:gd name="T95" fmla="*/ 146 h 208"/>
              <a:gd name="T96" fmla="*/ 9 w 120"/>
              <a:gd name="T97" fmla="*/ 146 h 208"/>
              <a:gd name="T98" fmla="*/ 16 w 120"/>
              <a:gd name="T99" fmla="*/ 139 h 208"/>
              <a:gd name="T100" fmla="*/ 16 w 120"/>
              <a:gd name="T101" fmla="*/ 130 h 208"/>
              <a:gd name="T102" fmla="*/ 16 w 120"/>
              <a:gd name="T103" fmla="*/ 120 h 208"/>
              <a:gd name="T104" fmla="*/ 26 w 120"/>
              <a:gd name="T105" fmla="*/ 113 h 208"/>
              <a:gd name="T106" fmla="*/ 35 w 120"/>
              <a:gd name="T107" fmla="*/ 104 h 208"/>
              <a:gd name="T108" fmla="*/ 16 w 120"/>
              <a:gd name="T109" fmla="*/ 104 h 208"/>
              <a:gd name="T110" fmla="*/ 9 w 120"/>
              <a:gd name="T111" fmla="*/ 104 h 208"/>
              <a:gd name="T112" fmla="*/ 9 w 120"/>
              <a:gd name="T113" fmla="*/ 87 h 208"/>
              <a:gd name="T114" fmla="*/ 9 w 120"/>
              <a:gd name="T115" fmla="*/ 78 h 208"/>
              <a:gd name="T116" fmla="*/ 0 w 120"/>
              <a:gd name="T117" fmla="*/ 61 h 208"/>
              <a:gd name="T118" fmla="*/ 0 w 120"/>
              <a:gd name="T119" fmla="*/ 52 h 208"/>
              <a:gd name="T120" fmla="*/ 0 w 120"/>
              <a:gd name="T121" fmla="*/ 42 h 208"/>
              <a:gd name="T122" fmla="*/ 9 w 120"/>
              <a:gd name="T123" fmla="*/ 35 h 208"/>
              <a:gd name="T124" fmla="*/ 9 w 120"/>
              <a:gd name="T125" fmla="*/ 26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0" h="208">
                <a:moveTo>
                  <a:pt x="9" y="26"/>
                </a:moveTo>
                <a:lnTo>
                  <a:pt x="16" y="35"/>
                </a:lnTo>
                <a:lnTo>
                  <a:pt x="26" y="26"/>
                </a:lnTo>
                <a:lnTo>
                  <a:pt x="42" y="26"/>
                </a:lnTo>
                <a:lnTo>
                  <a:pt x="52" y="26"/>
                </a:lnTo>
                <a:lnTo>
                  <a:pt x="61" y="16"/>
                </a:lnTo>
                <a:lnTo>
                  <a:pt x="68" y="16"/>
                </a:lnTo>
                <a:lnTo>
                  <a:pt x="78" y="16"/>
                </a:lnTo>
                <a:lnTo>
                  <a:pt x="78" y="9"/>
                </a:lnTo>
                <a:lnTo>
                  <a:pt x="87" y="9"/>
                </a:lnTo>
                <a:lnTo>
                  <a:pt x="94" y="0"/>
                </a:lnTo>
                <a:lnTo>
                  <a:pt x="94" y="9"/>
                </a:lnTo>
                <a:lnTo>
                  <a:pt x="104" y="16"/>
                </a:lnTo>
                <a:lnTo>
                  <a:pt x="113" y="26"/>
                </a:lnTo>
                <a:lnTo>
                  <a:pt x="104" y="26"/>
                </a:lnTo>
                <a:lnTo>
                  <a:pt x="113" y="35"/>
                </a:lnTo>
                <a:lnTo>
                  <a:pt x="113" y="42"/>
                </a:lnTo>
                <a:lnTo>
                  <a:pt x="120" y="42"/>
                </a:lnTo>
                <a:lnTo>
                  <a:pt x="120" y="52"/>
                </a:lnTo>
                <a:lnTo>
                  <a:pt x="113" y="71"/>
                </a:lnTo>
                <a:lnTo>
                  <a:pt x="120" y="71"/>
                </a:lnTo>
                <a:lnTo>
                  <a:pt x="120" y="78"/>
                </a:lnTo>
                <a:lnTo>
                  <a:pt x="113" y="87"/>
                </a:lnTo>
                <a:lnTo>
                  <a:pt x="104" y="87"/>
                </a:lnTo>
                <a:lnTo>
                  <a:pt x="104" y="94"/>
                </a:lnTo>
                <a:lnTo>
                  <a:pt x="104" y="104"/>
                </a:lnTo>
                <a:lnTo>
                  <a:pt x="104" y="113"/>
                </a:lnTo>
                <a:lnTo>
                  <a:pt x="104" y="120"/>
                </a:lnTo>
                <a:lnTo>
                  <a:pt x="104" y="130"/>
                </a:lnTo>
                <a:lnTo>
                  <a:pt x="94" y="146"/>
                </a:lnTo>
                <a:lnTo>
                  <a:pt x="94" y="163"/>
                </a:lnTo>
                <a:lnTo>
                  <a:pt x="94" y="182"/>
                </a:lnTo>
                <a:lnTo>
                  <a:pt x="94" y="189"/>
                </a:lnTo>
                <a:lnTo>
                  <a:pt x="87" y="198"/>
                </a:lnTo>
                <a:lnTo>
                  <a:pt x="78" y="189"/>
                </a:lnTo>
                <a:lnTo>
                  <a:pt x="68" y="189"/>
                </a:lnTo>
                <a:lnTo>
                  <a:pt x="52" y="182"/>
                </a:lnTo>
                <a:lnTo>
                  <a:pt x="42" y="189"/>
                </a:lnTo>
                <a:lnTo>
                  <a:pt x="42" y="198"/>
                </a:lnTo>
                <a:lnTo>
                  <a:pt x="42" y="208"/>
                </a:lnTo>
                <a:lnTo>
                  <a:pt x="35" y="208"/>
                </a:lnTo>
                <a:lnTo>
                  <a:pt x="26" y="208"/>
                </a:lnTo>
                <a:lnTo>
                  <a:pt x="9" y="198"/>
                </a:lnTo>
                <a:lnTo>
                  <a:pt x="9" y="189"/>
                </a:lnTo>
                <a:lnTo>
                  <a:pt x="9" y="182"/>
                </a:lnTo>
                <a:lnTo>
                  <a:pt x="0" y="172"/>
                </a:lnTo>
                <a:lnTo>
                  <a:pt x="9" y="156"/>
                </a:lnTo>
                <a:lnTo>
                  <a:pt x="0" y="146"/>
                </a:lnTo>
                <a:lnTo>
                  <a:pt x="9" y="146"/>
                </a:lnTo>
                <a:lnTo>
                  <a:pt x="16" y="139"/>
                </a:lnTo>
                <a:lnTo>
                  <a:pt x="16" y="130"/>
                </a:lnTo>
                <a:lnTo>
                  <a:pt x="16" y="120"/>
                </a:lnTo>
                <a:lnTo>
                  <a:pt x="26" y="113"/>
                </a:lnTo>
                <a:lnTo>
                  <a:pt x="35" y="104"/>
                </a:lnTo>
                <a:lnTo>
                  <a:pt x="16" y="104"/>
                </a:lnTo>
                <a:lnTo>
                  <a:pt x="9" y="104"/>
                </a:lnTo>
                <a:lnTo>
                  <a:pt x="9" y="87"/>
                </a:lnTo>
                <a:lnTo>
                  <a:pt x="9" y="78"/>
                </a:lnTo>
                <a:lnTo>
                  <a:pt x="0" y="61"/>
                </a:lnTo>
                <a:lnTo>
                  <a:pt x="0" y="52"/>
                </a:lnTo>
                <a:lnTo>
                  <a:pt x="0" y="42"/>
                </a:lnTo>
                <a:lnTo>
                  <a:pt x="9" y="35"/>
                </a:lnTo>
                <a:lnTo>
                  <a:pt x="9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9" name="Freeform 509">
            <a:extLst>
              <a:ext uri="{FF2B5EF4-FFF2-40B4-BE49-F238E27FC236}">
                <a16:creationId xmlns:a16="http://schemas.microsoft.com/office/drawing/2014/main" id="{33905B88-81D8-466A-99E8-71DCC53DA633}"/>
              </a:ext>
            </a:extLst>
          </p:cNvPr>
          <p:cNvSpPr>
            <a:spLocks/>
          </p:cNvSpPr>
          <p:nvPr/>
        </p:nvSpPr>
        <p:spPr bwMode="auto">
          <a:xfrm>
            <a:off x="1757784" y="3746737"/>
            <a:ext cx="214636" cy="137153"/>
          </a:xfrm>
          <a:custGeom>
            <a:avLst/>
            <a:gdLst>
              <a:gd name="T0" fmla="*/ 241 w 241"/>
              <a:gd name="T1" fmla="*/ 8 h 154"/>
              <a:gd name="T2" fmla="*/ 241 w 241"/>
              <a:gd name="T3" fmla="*/ 17 h 154"/>
              <a:gd name="T4" fmla="*/ 241 w 241"/>
              <a:gd name="T5" fmla="*/ 24 h 154"/>
              <a:gd name="T6" fmla="*/ 234 w 241"/>
              <a:gd name="T7" fmla="*/ 43 h 154"/>
              <a:gd name="T8" fmla="*/ 225 w 241"/>
              <a:gd name="T9" fmla="*/ 43 h 154"/>
              <a:gd name="T10" fmla="*/ 218 w 241"/>
              <a:gd name="T11" fmla="*/ 50 h 154"/>
              <a:gd name="T12" fmla="*/ 218 w 241"/>
              <a:gd name="T13" fmla="*/ 60 h 154"/>
              <a:gd name="T14" fmla="*/ 218 w 241"/>
              <a:gd name="T15" fmla="*/ 69 h 154"/>
              <a:gd name="T16" fmla="*/ 218 w 241"/>
              <a:gd name="T17" fmla="*/ 76 h 154"/>
              <a:gd name="T18" fmla="*/ 208 w 241"/>
              <a:gd name="T19" fmla="*/ 86 h 154"/>
              <a:gd name="T20" fmla="*/ 208 w 241"/>
              <a:gd name="T21" fmla="*/ 93 h 154"/>
              <a:gd name="T22" fmla="*/ 208 w 241"/>
              <a:gd name="T23" fmla="*/ 102 h 154"/>
              <a:gd name="T24" fmla="*/ 218 w 241"/>
              <a:gd name="T25" fmla="*/ 102 h 154"/>
              <a:gd name="T26" fmla="*/ 208 w 241"/>
              <a:gd name="T27" fmla="*/ 112 h 154"/>
              <a:gd name="T28" fmla="*/ 218 w 241"/>
              <a:gd name="T29" fmla="*/ 112 h 154"/>
              <a:gd name="T30" fmla="*/ 218 w 241"/>
              <a:gd name="T31" fmla="*/ 128 h 154"/>
              <a:gd name="T32" fmla="*/ 199 w 241"/>
              <a:gd name="T33" fmla="*/ 138 h 154"/>
              <a:gd name="T34" fmla="*/ 199 w 241"/>
              <a:gd name="T35" fmla="*/ 154 h 154"/>
              <a:gd name="T36" fmla="*/ 182 w 241"/>
              <a:gd name="T37" fmla="*/ 147 h 154"/>
              <a:gd name="T38" fmla="*/ 173 w 241"/>
              <a:gd name="T39" fmla="*/ 154 h 154"/>
              <a:gd name="T40" fmla="*/ 156 w 241"/>
              <a:gd name="T41" fmla="*/ 147 h 154"/>
              <a:gd name="T42" fmla="*/ 147 w 241"/>
              <a:gd name="T43" fmla="*/ 128 h 154"/>
              <a:gd name="T44" fmla="*/ 147 w 241"/>
              <a:gd name="T45" fmla="*/ 119 h 154"/>
              <a:gd name="T46" fmla="*/ 130 w 241"/>
              <a:gd name="T47" fmla="*/ 112 h 154"/>
              <a:gd name="T48" fmla="*/ 113 w 241"/>
              <a:gd name="T49" fmla="*/ 112 h 154"/>
              <a:gd name="T50" fmla="*/ 104 w 241"/>
              <a:gd name="T51" fmla="*/ 102 h 154"/>
              <a:gd name="T52" fmla="*/ 87 w 241"/>
              <a:gd name="T53" fmla="*/ 102 h 154"/>
              <a:gd name="T54" fmla="*/ 78 w 241"/>
              <a:gd name="T55" fmla="*/ 86 h 154"/>
              <a:gd name="T56" fmla="*/ 69 w 241"/>
              <a:gd name="T57" fmla="*/ 76 h 154"/>
              <a:gd name="T58" fmla="*/ 45 w 241"/>
              <a:gd name="T59" fmla="*/ 69 h 154"/>
              <a:gd name="T60" fmla="*/ 35 w 241"/>
              <a:gd name="T61" fmla="*/ 60 h 154"/>
              <a:gd name="T62" fmla="*/ 26 w 241"/>
              <a:gd name="T63" fmla="*/ 60 h 154"/>
              <a:gd name="T64" fmla="*/ 9 w 241"/>
              <a:gd name="T65" fmla="*/ 50 h 154"/>
              <a:gd name="T66" fmla="*/ 0 w 241"/>
              <a:gd name="T67" fmla="*/ 43 h 154"/>
              <a:gd name="T68" fmla="*/ 0 w 241"/>
              <a:gd name="T69" fmla="*/ 34 h 154"/>
              <a:gd name="T70" fmla="*/ 9 w 241"/>
              <a:gd name="T71" fmla="*/ 24 h 154"/>
              <a:gd name="T72" fmla="*/ 9 w 241"/>
              <a:gd name="T73" fmla="*/ 8 h 154"/>
              <a:gd name="T74" fmla="*/ 16 w 241"/>
              <a:gd name="T75" fmla="*/ 8 h 154"/>
              <a:gd name="T76" fmla="*/ 26 w 241"/>
              <a:gd name="T77" fmla="*/ 0 h 154"/>
              <a:gd name="T78" fmla="*/ 35 w 241"/>
              <a:gd name="T79" fmla="*/ 8 h 154"/>
              <a:gd name="T80" fmla="*/ 35 w 241"/>
              <a:gd name="T81" fmla="*/ 17 h 154"/>
              <a:gd name="T82" fmla="*/ 52 w 241"/>
              <a:gd name="T83" fmla="*/ 8 h 154"/>
              <a:gd name="T84" fmla="*/ 69 w 241"/>
              <a:gd name="T85" fmla="*/ 8 h 154"/>
              <a:gd name="T86" fmla="*/ 78 w 241"/>
              <a:gd name="T87" fmla="*/ 17 h 154"/>
              <a:gd name="T88" fmla="*/ 95 w 241"/>
              <a:gd name="T89" fmla="*/ 24 h 154"/>
              <a:gd name="T90" fmla="*/ 113 w 241"/>
              <a:gd name="T91" fmla="*/ 34 h 154"/>
              <a:gd name="T92" fmla="*/ 130 w 241"/>
              <a:gd name="T93" fmla="*/ 34 h 154"/>
              <a:gd name="T94" fmla="*/ 147 w 241"/>
              <a:gd name="T95" fmla="*/ 24 h 154"/>
              <a:gd name="T96" fmla="*/ 156 w 241"/>
              <a:gd name="T97" fmla="*/ 24 h 154"/>
              <a:gd name="T98" fmla="*/ 166 w 241"/>
              <a:gd name="T99" fmla="*/ 24 h 154"/>
              <a:gd name="T100" fmla="*/ 173 w 241"/>
              <a:gd name="T101" fmla="*/ 24 h 154"/>
              <a:gd name="T102" fmla="*/ 182 w 241"/>
              <a:gd name="T103" fmla="*/ 17 h 154"/>
              <a:gd name="T104" fmla="*/ 189 w 241"/>
              <a:gd name="T105" fmla="*/ 17 h 154"/>
              <a:gd name="T106" fmla="*/ 199 w 241"/>
              <a:gd name="T107" fmla="*/ 24 h 154"/>
              <a:gd name="T108" fmla="*/ 208 w 241"/>
              <a:gd name="T109" fmla="*/ 17 h 154"/>
              <a:gd name="T110" fmla="*/ 225 w 241"/>
              <a:gd name="T111" fmla="*/ 17 h 154"/>
              <a:gd name="T112" fmla="*/ 241 w 241"/>
              <a:gd name="T113" fmla="*/ 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41" h="154">
                <a:moveTo>
                  <a:pt x="241" y="8"/>
                </a:moveTo>
                <a:lnTo>
                  <a:pt x="241" y="17"/>
                </a:lnTo>
                <a:lnTo>
                  <a:pt x="241" y="24"/>
                </a:lnTo>
                <a:lnTo>
                  <a:pt x="234" y="43"/>
                </a:lnTo>
                <a:lnTo>
                  <a:pt x="225" y="43"/>
                </a:lnTo>
                <a:lnTo>
                  <a:pt x="218" y="50"/>
                </a:lnTo>
                <a:lnTo>
                  <a:pt x="218" y="60"/>
                </a:lnTo>
                <a:lnTo>
                  <a:pt x="218" y="69"/>
                </a:lnTo>
                <a:lnTo>
                  <a:pt x="218" y="76"/>
                </a:lnTo>
                <a:lnTo>
                  <a:pt x="208" y="86"/>
                </a:lnTo>
                <a:lnTo>
                  <a:pt x="208" y="93"/>
                </a:lnTo>
                <a:lnTo>
                  <a:pt x="208" y="102"/>
                </a:lnTo>
                <a:lnTo>
                  <a:pt x="218" y="102"/>
                </a:lnTo>
                <a:lnTo>
                  <a:pt x="208" y="112"/>
                </a:lnTo>
                <a:lnTo>
                  <a:pt x="218" y="112"/>
                </a:lnTo>
                <a:lnTo>
                  <a:pt x="218" y="128"/>
                </a:lnTo>
                <a:lnTo>
                  <a:pt x="199" y="138"/>
                </a:lnTo>
                <a:lnTo>
                  <a:pt x="199" y="154"/>
                </a:lnTo>
                <a:lnTo>
                  <a:pt x="182" y="147"/>
                </a:lnTo>
                <a:lnTo>
                  <a:pt x="173" y="154"/>
                </a:lnTo>
                <a:lnTo>
                  <a:pt x="156" y="147"/>
                </a:lnTo>
                <a:lnTo>
                  <a:pt x="147" y="128"/>
                </a:lnTo>
                <a:lnTo>
                  <a:pt x="147" y="119"/>
                </a:lnTo>
                <a:lnTo>
                  <a:pt x="130" y="112"/>
                </a:lnTo>
                <a:lnTo>
                  <a:pt x="113" y="112"/>
                </a:lnTo>
                <a:lnTo>
                  <a:pt x="104" y="102"/>
                </a:lnTo>
                <a:lnTo>
                  <a:pt x="87" y="102"/>
                </a:lnTo>
                <a:lnTo>
                  <a:pt x="78" y="86"/>
                </a:lnTo>
                <a:lnTo>
                  <a:pt x="69" y="76"/>
                </a:lnTo>
                <a:lnTo>
                  <a:pt x="45" y="69"/>
                </a:lnTo>
                <a:lnTo>
                  <a:pt x="35" y="60"/>
                </a:lnTo>
                <a:lnTo>
                  <a:pt x="26" y="60"/>
                </a:lnTo>
                <a:lnTo>
                  <a:pt x="9" y="50"/>
                </a:lnTo>
                <a:lnTo>
                  <a:pt x="0" y="43"/>
                </a:lnTo>
                <a:lnTo>
                  <a:pt x="0" y="34"/>
                </a:lnTo>
                <a:lnTo>
                  <a:pt x="9" y="24"/>
                </a:lnTo>
                <a:lnTo>
                  <a:pt x="9" y="8"/>
                </a:lnTo>
                <a:lnTo>
                  <a:pt x="16" y="8"/>
                </a:lnTo>
                <a:lnTo>
                  <a:pt x="26" y="0"/>
                </a:lnTo>
                <a:lnTo>
                  <a:pt x="35" y="8"/>
                </a:lnTo>
                <a:lnTo>
                  <a:pt x="35" y="17"/>
                </a:lnTo>
                <a:lnTo>
                  <a:pt x="52" y="8"/>
                </a:lnTo>
                <a:lnTo>
                  <a:pt x="69" y="8"/>
                </a:lnTo>
                <a:lnTo>
                  <a:pt x="78" y="17"/>
                </a:lnTo>
                <a:lnTo>
                  <a:pt x="95" y="24"/>
                </a:lnTo>
                <a:lnTo>
                  <a:pt x="113" y="34"/>
                </a:lnTo>
                <a:lnTo>
                  <a:pt x="130" y="34"/>
                </a:lnTo>
                <a:lnTo>
                  <a:pt x="147" y="24"/>
                </a:lnTo>
                <a:lnTo>
                  <a:pt x="156" y="24"/>
                </a:lnTo>
                <a:lnTo>
                  <a:pt x="166" y="24"/>
                </a:lnTo>
                <a:lnTo>
                  <a:pt x="173" y="24"/>
                </a:lnTo>
                <a:lnTo>
                  <a:pt x="182" y="17"/>
                </a:lnTo>
                <a:lnTo>
                  <a:pt x="189" y="17"/>
                </a:lnTo>
                <a:lnTo>
                  <a:pt x="199" y="24"/>
                </a:lnTo>
                <a:lnTo>
                  <a:pt x="208" y="17"/>
                </a:lnTo>
                <a:lnTo>
                  <a:pt x="225" y="17"/>
                </a:lnTo>
                <a:lnTo>
                  <a:pt x="241" y="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0" name="Freeform 518">
            <a:extLst>
              <a:ext uri="{FF2B5EF4-FFF2-40B4-BE49-F238E27FC236}">
                <a16:creationId xmlns:a16="http://schemas.microsoft.com/office/drawing/2014/main" id="{EE87CBF0-CC14-4848-A6B8-1CFC18BFBCAB}"/>
              </a:ext>
            </a:extLst>
          </p:cNvPr>
          <p:cNvSpPr>
            <a:spLocks/>
          </p:cNvSpPr>
          <p:nvPr/>
        </p:nvSpPr>
        <p:spPr bwMode="auto">
          <a:xfrm>
            <a:off x="895680" y="2178380"/>
            <a:ext cx="445303" cy="430163"/>
          </a:xfrm>
          <a:custGeom>
            <a:avLst/>
            <a:gdLst>
              <a:gd name="T0" fmla="*/ 43 w 500"/>
              <a:gd name="T1" fmla="*/ 415 h 483"/>
              <a:gd name="T2" fmla="*/ 95 w 500"/>
              <a:gd name="T3" fmla="*/ 379 h 483"/>
              <a:gd name="T4" fmla="*/ 112 w 500"/>
              <a:gd name="T5" fmla="*/ 370 h 483"/>
              <a:gd name="T6" fmla="*/ 138 w 500"/>
              <a:gd name="T7" fmla="*/ 379 h 483"/>
              <a:gd name="T8" fmla="*/ 173 w 500"/>
              <a:gd name="T9" fmla="*/ 386 h 483"/>
              <a:gd name="T10" fmla="*/ 206 w 500"/>
              <a:gd name="T11" fmla="*/ 370 h 483"/>
              <a:gd name="T12" fmla="*/ 242 w 500"/>
              <a:gd name="T13" fmla="*/ 353 h 483"/>
              <a:gd name="T14" fmla="*/ 223 w 500"/>
              <a:gd name="T15" fmla="*/ 346 h 483"/>
              <a:gd name="T16" fmla="*/ 216 w 500"/>
              <a:gd name="T17" fmla="*/ 311 h 483"/>
              <a:gd name="T18" fmla="*/ 232 w 500"/>
              <a:gd name="T19" fmla="*/ 284 h 483"/>
              <a:gd name="T20" fmla="*/ 249 w 500"/>
              <a:gd name="T21" fmla="*/ 249 h 483"/>
              <a:gd name="T22" fmla="*/ 249 w 500"/>
              <a:gd name="T23" fmla="*/ 216 h 483"/>
              <a:gd name="T24" fmla="*/ 275 w 500"/>
              <a:gd name="T25" fmla="*/ 206 h 483"/>
              <a:gd name="T26" fmla="*/ 258 w 500"/>
              <a:gd name="T27" fmla="*/ 190 h 483"/>
              <a:gd name="T28" fmla="*/ 275 w 500"/>
              <a:gd name="T29" fmla="*/ 164 h 483"/>
              <a:gd name="T30" fmla="*/ 301 w 500"/>
              <a:gd name="T31" fmla="*/ 147 h 483"/>
              <a:gd name="T32" fmla="*/ 268 w 500"/>
              <a:gd name="T33" fmla="*/ 138 h 483"/>
              <a:gd name="T34" fmla="*/ 268 w 500"/>
              <a:gd name="T35" fmla="*/ 105 h 483"/>
              <a:gd name="T36" fmla="*/ 284 w 500"/>
              <a:gd name="T37" fmla="*/ 62 h 483"/>
              <a:gd name="T38" fmla="*/ 310 w 500"/>
              <a:gd name="T39" fmla="*/ 53 h 483"/>
              <a:gd name="T40" fmla="*/ 336 w 500"/>
              <a:gd name="T41" fmla="*/ 43 h 483"/>
              <a:gd name="T42" fmla="*/ 353 w 500"/>
              <a:gd name="T43" fmla="*/ 26 h 483"/>
              <a:gd name="T44" fmla="*/ 369 w 500"/>
              <a:gd name="T45" fmla="*/ 17 h 483"/>
              <a:gd name="T46" fmla="*/ 405 w 500"/>
              <a:gd name="T47" fmla="*/ 26 h 483"/>
              <a:gd name="T48" fmla="*/ 405 w 500"/>
              <a:gd name="T49" fmla="*/ 69 h 483"/>
              <a:gd name="T50" fmla="*/ 395 w 500"/>
              <a:gd name="T51" fmla="*/ 112 h 483"/>
              <a:gd name="T52" fmla="*/ 421 w 500"/>
              <a:gd name="T53" fmla="*/ 128 h 483"/>
              <a:gd name="T54" fmla="*/ 431 w 500"/>
              <a:gd name="T55" fmla="*/ 164 h 483"/>
              <a:gd name="T56" fmla="*/ 414 w 500"/>
              <a:gd name="T57" fmla="*/ 206 h 483"/>
              <a:gd name="T58" fmla="*/ 431 w 500"/>
              <a:gd name="T59" fmla="*/ 223 h 483"/>
              <a:gd name="T60" fmla="*/ 440 w 500"/>
              <a:gd name="T61" fmla="*/ 258 h 483"/>
              <a:gd name="T62" fmla="*/ 414 w 500"/>
              <a:gd name="T63" fmla="*/ 284 h 483"/>
              <a:gd name="T64" fmla="*/ 431 w 500"/>
              <a:gd name="T65" fmla="*/ 301 h 483"/>
              <a:gd name="T66" fmla="*/ 474 w 500"/>
              <a:gd name="T67" fmla="*/ 301 h 483"/>
              <a:gd name="T68" fmla="*/ 500 w 500"/>
              <a:gd name="T69" fmla="*/ 346 h 483"/>
              <a:gd name="T70" fmla="*/ 474 w 500"/>
              <a:gd name="T71" fmla="*/ 386 h 483"/>
              <a:gd name="T72" fmla="*/ 447 w 500"/>
              <a:gd name="T73" fmla="*/ 396 h 483"/>
              <a:gd name="T74" fmla="*/ 431 w 500"/>
              <a:gd name="T75" fmla="*/ 405 h 483"/>
              <a:gd name="T76" fmla="*/ 405 w 500"/>
              <a:gd name="T77" fmla="*/ 415 h 483"/>
              <a:gd name="T78" fmla="*/ 414 w 500"/>
              <a:gd name="T79" fmla="*/ 438 h 483"/>
              <a:gd name="T80" fmla="*/ 447 w 500"/>
              <a:gd name="T81" fmla="*/ 438 h 483"/>
              <a:gd name="T82" fmla="*/ 431 w 500"/>
              <a:gd name="T83" fmla="*/ 464 h 483"/>
              <a:gd name="T84" fmla="*/ 395 w 500"/>
              <a:gd name="T85" fmla="*/ 474 h 483"/>
              <a:gd name="T86" fmla="*/ 353 w 500"/>
              <a:gd name="T87" fmla="*/ 464 h 483"/>
              <a:gd name="T88" fmla="*/ 310 w 500"/>
              <a:gd name="T89" fmla="*/ 464 h 483"/>
              <a:gd name="T90" fmla="*/ 284 w 500"/>
              <a:gd name="T91" fmla="*/ 448 h 483"/>
              <a:gd name="T92" fmla="*/ 249 w 500"/>
              <a:gd name="T93" fmla="*/ 457 h 483"/>
              <a:gd name="T94" fmla="*/ 206 w 500"/>
              <a:gd name="T95" fmla="*/ 457 h 483"/>
              <a:gd name="T96" fmla="*/ 180 w 500"/>
              <a:gd name="T97" fmla="*/ 431 h 483"/>
              <a:gd name="T98" fmla="*/ 147 w 500"/>
              <a:gd name="T99" fmla="*/ 422 h 483"/>
              <a:gd name="T100" fmla="*/ 128 w 500"/>
              <a:gd name="T101" fmla="*/ 457 h 483"/>
              <a:gd name="T102" fmla="*/ 86 w 500"/>
              <a:gd name="T103" fmla="*/ 438 h 483"/>
              <a:gd name="T104" fmla="*/ 43 w 500"/>
              <a:gd name="T105" fmla="*/ 438 h 483"/>
              <a:gd name="T106" fmla="*/ 17 w 500"/>
              <a:gd name="T107" fmla="*/ 448 h 483"/>
              <a:gd name="T108" fmla="*/ 17 w 500"/>
              <a:gd name="T109" fmla="*/ 431 h 4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500" h="483">
                <a:moveTo>
                  <a:pt x="17" y="431"/>
                </a:moveTo>
                <a:lnTo>
                  <a:pt x="33" y="422"/>
                </a:lnTo>
                <a:lnTo>
                  <a:pt x="43" y="422"/>
                </a:lnTo>
                <a:lnTo>
                  <a:pt x="43" y="415"/>
                </a:lnTo>
                <a:lnTo>
                  <a:pt x="69" y="405"/>
                </a:lnTo>
                <a:lnTo>
                  <a:pt x="86" y="405"/>
                </a:lnTo>
                <a:lnTo>
                  <a:pt x="95" y="386"/>
                </a:lnTo>
                <a:lnTo>
                  <a:pt x="95" y="379"/>
                </a:lnTo>
                <a:lnTo>
                  <a:pt x="102" y="379"/>
                </a:lnTo>
                <a:lnTo>
                  <a:pt x="112" y="386"/>
                </a:lnTo>
                <a:lnTo>
                  <a:pt x="121" y="379"/>
                </a:lnTo>
                <a:lnTo>
                  <a:pt x="112" y="370"/>
                </a:lnTo>
                <a:lnTo>
                  <a:pt x="121" y="370"/>
                </a:lnTo>
                <a:lnTo>
                  <a:pt x="128" y="370"/>
                </a:lnTo>
                <a:lnTo>
                  <a:pt x="138" y="370"/>
                </a:lnTo>
                <a:lnTo>
                  <a:pt x="138" y="379"/>
                </a:lnTo>
                <a:lnTo>
                  <a:pt x="147" y="379"/>
                </a:lnTo>
                <a:lnTo>
                  <a:pt x="154" y="386"/>
                </a:lnTo>
                <a:lnTo>
                  <a:pt x="164" y="386"/>
                </a:lnTo>
                <a:lnTo>
                  <a:pt x="173" y="386"/>
                </a:lnTo>
                <a:lnTo>
                  <a:pt x="190" y="386"/>
                </a:lnTo>
                <a:lnTo>
                  <a:pt x="197" y="386"/>
                </a:lnTo>
                <a:lnTo>
                  <a:pt x="197" y="379"/>
                </a:lnTo>
                <a:lnTo>
                  <a:pt x="206" y="370"/>
                </a:lnTo>
                <a:lnTo>
                  <a:pt x="216" y="370"/>
                </a:lnTo>
                <a:lnTo>
                  <a:pt x="223" y="370"/>
                </a:lnTo>
                <a:lnTo>
                  <a:pt x="232" y="363"/>
                </a:lnTo>
                <a:lnTo>
                  <a:pt x="242" y="353"/>
                </a:lnTo>
                <a:lnTo>
                  <a:pt x="232" y="353"/>
                </a:lnTo>
                <a:lnTo>
                  <a:pt x="216" y="353"/>
                </a:lnTo>
                <a:lnTo>
                  <a:pt x="216" y="346"/>
                </a:lnTo>
                <a:lnTo>
                  <a:pt x="223" y="346"/>
                </a:lnTo>
                <a:lnTo>
                  <a:pt x="223" y="327"/>
                </a:lnTo>
                <a:lnTo>
                  <a:pt x="216" y="327"/>
                </a:lnTo>
                <a:lnTo>
                  <a:pt x="216" y="318"/>
                </a:lnTo>
                <a:lnTo>
                  <a:pt x="216" y="311"/>
                </a:lnTo>
                <a:lnTo>
                  <a:pt x="223" y="301"/>
                </a:lnTo>
                <a:lnTo>
                  <a:pt x="232" y="284"/>
                </a:lnTo>
                <a:lnTo>
                  <a:pt x="223" y="284"/>
                </a:lnTo>
                <a:lnTo>
                  <a:pt x="232" y="284"/>
                </a:lnTo>
                <a:lnTo>
                  <a:pt x="242" y="275"/>
                </a:lnTo>
                <a:lnTo>
                  <a:pt x="242" y="268"/>
                </a:lnTo>
                <a:lnTo>
                  <a:pt x="242" y="258"/>
                </a:lnTo>
                <a:lnTo>
                  <a:pt x="249" y="249"/>
                </a:lnTo>
                <a:lnTo>
                  <a:pt x="258" y="242"/>
                </a:lnTo>
                <a:lnTo>
                  <a:pt x="258" y="232"/>
                </a:lnTo>
                <a:lnTo>
                  <a:pt x="249" y="223"/>
                </a:lnTo>
                <a:lnTo>
                  <a:pt x="249" y="216"/>
                </a:lnTo>
                <a:lnTo>
                  <a:pt x="258" y="206"/>
                </a:lnTo>
                <a:lnTo>
                  <a:pt x="258" y="216"/>
                </a:lnTo>
                <a:lnTo>
                  <a:pt x="268" y="216"/>
                </a:lnTo>
                <a:lnTo>
                  <a:pt x="275" y="206"/>
                </a:lnTo>
                <a:lnTo>
                  <a:pt x="268" y="206"/>
                </a:lnTo>
                <a:lnTo>
                  <a:pt x="268" y="199"/>
                </a:lnTo>
                <a:lnTo>
                  <a:pt x="268" y="190"/>
                </a:lnTo>
                <a:lnTo>
                  <a:pt x="258" y="190"/>
                </a:lnTo>
                <a:lnTo>
                  <a:pt x="258" y="183"/>
                </a:lnTo>
                <a:lnTo>
                  <a:pt x="268" y="173"/>
                </a:lnTo>
                <a:lnTo>
                  <a:pt x="275" y="173"/>
                </a:lnTo>
                <a:lnTo>
                  <a:pt x="275" y="164"/>
                </a:lnTo>
                <a:lnTo>
                  <a:pt x="275" y="154"/>
                </a:lnTo>
                <a:lnTo>
                  <a:pt x="284" y="154"/>
                </a:lnTo>
                <a:lnTo>
                  <a:pt x="284" y="147"/>
                </a:lnTo>
                <a:lnTo>
                  <a:pt x="301" y="147"/>
                </a:lnTo>
                <a:lnTo>
                  <a:pt x="301" y="138"/>
                </a:lnTo>
                <a:lnTo>
                  <a:pt x="284" y="128"/>
                </a:lnTo>
                <a:lnTo>
                  <a:pt x="275" y="128"/>
                </a:lnTo>
                <a:lnTo>
                  <a:pt x="268" y="138"/>
                </a:lnTo>
                <a:lnTo>
                  <a:pt x="284" y="121"/>
                </a:lnTo>
                <a:lnTo>
                  <a:pt x="275" y="121"/>
                </a:lnTo>
                <a:lnTo>
                  <a:pt x="268" y="112"/>
                </a:lnTo>
                <a:lnTo>
                  <a:pt x="268" y="105"/>
                </a:lnTo>
                <a:lnTo>
                  <a:pt x="268" y="86"/>
                </a:lnTo>
                <a:lnTo>
                  <a:pt x="268" y="79"/>
                </a:lnTo>
                <a:lnTo>
                  <a:pt x="275" y="69"/>
                </a:lnTo>
                <a:lnTo>
                  <a:pt x="284" y="62"/>
                </a:lnTo>
                <a:lnTo>
                  <a:pt x="291" y="69"/>
                </a:lnTo>
                <a:lnTo>
                  <a:pt x="291" y="62"/>
                </a:lnTo>
                <a:lnTo>
                  <a:pt x="301" y="62"/>
                </a:lnTo>
                <a:lnTo>
                  <a:pt x="310" y="53"/>
                </a:lnTo>
                <a:lnTo>
                  <a:pt x="310" y="62"/>
                </a:lnTo>
                <a:lnTo>
                  <a:pt x="320" y="62"/>
                </a:lnTo>
                <a:lnTo>
                  <a:pt x="327" y="53"/>
                </a:lnTo>
                <a:lnTo>
                  <a:pt x="336" y="43"/>
                </a:lnTo>
                <a:lnTo>
                  <a:pt x="346" y="43"/>
                </a:lnTo>
                <a:lnTo>
                  <a:pt x="346" y="36"/>
                </a:lnTo>
                <a:lnTo>
                  <a:pt x="353" y="36"/>
                </a:lnTo>
                <a:lnTo>
                  <a:pt x="353" y="26"/>
                </a:lnTo>
                <a:lnTo>
                  <a:pt x="362" y="26"/>
                </a:lnTo>
                <a:lnTo>
                  <a:pt x="369" y="36"/>
                </a:lnTo>
                <a:lnTo>
                  <a:pt x="379" y="26"/>
                </a:lnTo>
                <a:lnTo>
                  <a:pt x="369" y="17"/>
                </a:lnTo>
                <a:lnTo>
                  <a:pt x="379" y="17"/>
                </a:lnTo>
                <a:lnTo>
                  <a:pt x="388" y="0"/>
                </a:lnTo>
                <a:lnTo>
                  <a:pt x="395" y="17"/>
                </a:lnTo>
                <a:lnTo>
                  <a:pt x="405" y="26"/>
                </a:lnTo>
                <a:lnTo>
                  <a:pt x="395" y="43"/>
                </a:lnTo>
                <a:lnTo>
                  <a:pt x="395" y="53"/>
                </a:lnTo>
                <a:lnTo>
                  <a:pt x="395" y="62"/>
                </a:lnTo>
                <a:lnTo>
                  <a:pt x="405" y="69"/>
                </a:lnTo>
                <a:lnTo>
                  <a:pt x="405" y="79"/>
                </a:lnTo>
                <a:lnTo>
                  <a:pt x="395" y="86"/>
                </a:lnTo>
                <a:lnTo>
                  <a:pt x="395" y="95"/>
                </a:lnTo>
                <a:lnTo>
                  <a:pt x="395" y="112"/>
                </a:lnTo>
                <a:lnTo>
                  <a:pt x="395" y="121"/>
                </a:lnTo>
                <a:lnTo>
                  <a:pt x="405" y="121"/>
                </a:lnTo>
                <a:lnTo>
                  <a:pt x="414" y="128"/>
                </a:lnTo>
                <a:lnTo>
                  <a:pt x="421" y="128"/>
                </a:lnTo>
                <a:lnTo>
                  <a:pt x="421" y="138"/>
                </a:lnTo>
                <a:lnTo>
                  <a:pt x="431" y="147"/>
                </a:lnTo>
                <a:lnTo>
                  <a:pt x="431" y="154"/>
                </a:lnTo>
                <a:lnTo>
                  <a:pt x="431" y="164"/>
                </a:lnTo>
                <a:lnTo>
                  <a:pt x="431" y="173"/>
                </a:lnTo>
                <a:lnTo>
                  <a:pt x="431" y="216"/>
                </a:lnTo>
                <a:lnTo>
                  <a:pt x="421" y="206"/>
                </a:lnTo>
                <a:lnTo>
                  <a:pt x="414" y="206"/>
                </a:lnTo>
                <a:lnTo>
                  <a:pt x="405" y="206"/>
                </a:lnTo>
                <a:lnTo>
                  <a:pt x="405" y="216"/>
                </a:lnTo>
                <a:lnTo>
                  <a:pt x="414" y="216"/>
                </a:lnTo>
                <a:lnTo>
                  <a:pt x="431" y="223"/>
                </a:lnTo>
                <a:lnTo>
                  <a:pt x="431" y="232"/>
                </a:lnTo>
                <a:lnTo>
                  <a:pt x="440" y="242"/>
                </a:lnTo>
                <a:lnTo>
                  <a:pt x="440" y="249"/>
                </a:lnTo>
                <a:lnTo>
                  <a:pt x="440" y="258"/>
                </a:lnTo>
                <a:lnTo>
                  <a:pt x="440" y="268"/>
                </a:lnTo>
                <a:lnTo>
                  <a:pt x="431" y="275"/>
                </a:lnTo>
                <a:lnTo>
                  <a:pt x="421" y="284"/>
                </a:lnTo>
                <a:lnTo>
                  <a:pt x="414" y="284"/>
                </a:lnTo>
                <a:lnTo>
                  <a:pt x="414" y="294"/>
                </a:lnTo>
                <a:lnTo>
                  <a:pt x="414" y="301"/>
                </a:lnTo>
                <a:lnTo>
                  <a:pt x="421" y="311"/>
                </a:lnTo>
                <a:lnTo>
                  <a:pt x="431" y="301"/>
                </a:lnTo>
                <a:lnTo>
                  <a:pt x="440" y="301"/>
                </a:lnTo>
                <a:lnTo>
                  <a:pt x="447" y="294"/>
                </a:lnTo>
                <a:lnTo>
                  <a:pt x="457" y="301"/>
                </a:lnTo>
                <a:lnTo>
                  <a:pt x="474" y="301"/>
                </a:lnTo>
                <a:lnTo>
                  <a:pt x="490" y="311"/>
                </a:lnTo>
                <a:lnTo>
                  <a:pt x="500" y="318"/>
                </a:lnTo>
                <a:lnTo>
                  <a:pt x="500" y="337"/>
                </a:lnTo>
                <a:lnTo>
                  <a:pt x="500" y="346"/>
                </a:lnTo>
                <a:lnTo>
                  <a:pt x="490" y="363"/>
                </a:lnTo>
                <a:lnTo>
                  <a:pt x="490" y="370"/>
                </a:lnTo>
                <a:lnTo>
                  <a:pt x="483" y="379"/>
                </a:lnTo>
                <a:lnTo>
                  <a:pt x="474" y="386"/>
                </a:lnTo>
                <a:lnTo>
                  <a:pt x="466" y="386"/>
                </a:lnTo>
                <a:lnTo>
                  <a:pt x="457" y="386"/>
                </a:lnTo>
                <a:lnTo>
                  <a:pt x="457" y="396"/>
                </a:lnTo>
                <a:lnTo>
                  <a:pt x="447" y="396"/>
                </a:lnTo>
                <a:lnTo>
                  <a:pt x="440" y="396"/>
                </a:lnTo>
                <a:lnTo>
                  <a:pt x="431" y="396"/>
                </a:lnTo>
                <a:lnTo>
                  <a:pt x="421" y="405"/>
                </a:lnTo>
                <a:lnTo>
                  <a:pt x="431" y="405"/>
                </a:lnTo>
                <a:lnTo>
                  <a:pt x="431" y="415"/>
                </a:lnTo>
                <a:lnTo>
                  <a:pt x="421" y="422"/>
                </a:lnTo>
                <a:lnTo>
                  <a:pt x="414" y="415"/>
                </a:lnTo>
                <a:lnTo>
                  <a:pt x="405" y="415"/>
                </a:lnTo>
                <a:lnTo>
                  <a:pt x="395" y="415"/>
                </a:lnTo>
                <a:lnTo>
                  <a:pt x="395" y="422"/>
                </a:lnTo>
                <a:lnTo>
                  <a:pt x="405" y="431"/>
                </a:lnTo>
                <a:lnTo>
                  <a:pt x="414" y="438"/>
                </a:lnTo>
                <a:lnTo>
                  <a:pt x="421" y="438"/>
                </a:lnTo>
                <a:lnTo>
                  <a:pt x="431" y="448"/>
                </a:lnTo>
                <a:lnTo>
                  <a:pt x="440" y="438"/>
                </a:lnTo>
                <a:lnTo>
                  <a:pt x="447" y="438"/>
                </a:lnTo>
                <a:lnTo>
                  <a:pt x="457" y="448"/>
                </a:lnTo>
                <a:lnTo>
                  <a:pt x="447" y="457"/>
                </a:lnTo>
                <a:lnTo>
                  <a:pt x="440" y="464"/>
                </a:lnTo>
                <a:lnTo>
                  <a:pt x="431" y="464"/>
                </a:lnTo>
                <a:lnTo>
                  <a:pt x="421" y="474"/>
                </a:lnTo>
                <a:lnTo>
                  <a:pt x="414" y="483"/>
                </a:lnTo>
                <a:lnTo>
                  <a:pt x="405" y="474"/>
                </a:lnTo>
                <a:lnTo>
                  <a:pt x="395" y="474"/>
                </a:lnTo>
                <a:lnTo>
                  <a:pt x="379" y="483"/>
                </a:lnTo>
                <a:lnTo>
                  <a:pt x="369" y="474"/>
                </a:lnTo>
                <a:lnTo>
                  <a:pt x="362" y="474"/>
                </a:lnTo>
                <a:lnTo>
                  <a:pt x="353" y="464"/>
                </a:lnTo>
                <a:lnTo>
                  <a:pt x="346" y="464"/>
                </a:lnTo>
                <a:lnTo>
                  <a:pt x="336" y="464"/>
                </a:lnTo>
                <a:lnTo>
                  <a:pt x="327" y="464"/>
                </a:lnTo>
                <a:lnTo>
                  <a:pt x="310" y="464"/>
                </a:lnTo>
                <a:lnTo>
                  <a:pt x="310" y="457"/>
                </a:lnTo>
                <a:lnTo>
                  <a:pt x="301" y="457"/>
                </a:lnTo>
                <a:lnTo>
                  <a:pt x="291" y="457"/>
                </a:lnTo>
                <a:lnTo>
                  <a:pt x="284" y="448"/>
                </a:lnTo>
                <a:lnTo>
                  <a:pt x="275" y="438"/>
                </a:lnTo>
                <a:lnTo>
                  <a:pt x="268" y="448"/>
                </a:lnTo>
                <a:lnTo>
                  <a:pt x="268" y="457"/>
                </a:lnTo>
                <a:lnTo>
                  <a:pt x="249" y="457"/>
                </a:lnTo>
                <a:lnTo>
                  <a:pt x="242" y="448"/>
                </a:lnTo>
                <a:lnTo>
                  <a:pt x="223" y="448"/>
                </a:lnTo>
                <a:lnTo>
                  <a:pt x="216" y="457"/>
                </a:lnTo>
                <a:lnTo>
                  <a:pt x="206" y="457"/>
                </a:lnTo>
                <a:lnTo>
                  <a:pt x="206" y="448"/>
                </a:lnTo>
                <a:lnTo>
                  <a:pt x="197" y="438"/>
                </a:lnTo>
                <a:lnTo>
                  <a:pt x="190" y="431"/>
                </a:lnTo>
                <a:lnTo>
                  <a:pt x="180" y="431"/>
                </a:lnTo>
                <a:lnTo>
                  <a:pt x="173" y="431"/>
                </a:lnTo>
                <a:lnTo>
                  <a:pt x="164" y="431"/>
                </a:lnTo>
                <a:lnTo>
                  <a:pt x="154" y="431"/>
                </a:lnTo>
                <a:lnTo>
                  <a:pt x="147" y="422"/>
                </a:lnTo>
                <a:lnTo>
                  <a:pt x="138" y="431"/>
                </a:lnTo>
                <a:lnTo>
                  <a:pt x="138" y="438"/>
                </a:lnTo>
                <a:lnTo>
                  <a:pt x="138" y="448"/>
                </a:lnTo>
                <a:lnTo>
                  <a:pt x="128" y="457"/>
                </a:lnTo>
                <a:lnTo>
                  <a:pt x="112" y="457"/>
                </a:lnTo>
                <a:lnTo>
                  <a:pt x="102" y="448"/>
                </a:lnTo>
                <a:lnTo>
                  <a:pt x="102" y="438"/>
                </a:lnTo>
                <a:lnTo>
                  <a:pt x="86" y="438"/>
                </a:lnTo>
                <a:lnTo>
                  <a:pt x="69" y="431"/>
                </a:lnTo>
                <a:lnTo>
                  <a:pt x="50" y="438"/>
                </a:lnTo>
                <a:lnTo>
                  <a:pt x="43" y="448"/>
                </a:lnTo>
                <a:lnTo>
                  <a:pt x="43" y="438"/>
                </a:lnTo>
                <a:lnTo>
                  <a:pt x="33" y="438"/>
                </a:lnTo>
                <a:lnTo>
                  <a:pt x="33" y="448"/>
                </a:lnTo>
                <a:lnTo>
                  <a:pt x="24" y="448"/>
                </a:lnTo>
                <a:lnTo>
                  <a:pt x="17" y="448"/>
                </a:lnTo>
                <a:lnTo>
                  <a:pt x="17" y="431"/>
                </a:lnTo>
                <a:lnTo>
                  <a:pt x="7" y="431"/>
                </a:lnTo>
                <a:lnTo>
                  <a:pt x="0" y="431"/>
                </a:lnTo>
                <a:lnTo>
                  <a:pt x="17" y="43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1" name="Freeform 519">
            <a:extLst>
              <a:ext uri="{FF2B5EF4-FFF2-40B4-BE49-F238E27FC236}">
                <a16:creationId xmlns:a16="http://schemas.microsoft.com/office/drawing/2014/main" id="{73B577E6-BFAC-441C-AD97-458FEF480840}"/>
              </a:ext>
            </a:extLst>
          </p:cNvPr>
          <p:cNvSpPr>
            <a:spLocks/>
          </p:cNvSpPr>
          <p:nvPr/>
        </p:nvSpPr>
        <p:spPr bwMode="auto">
          <a:xfrm>
            <a:off x="967818" y="2349377"/>
            <a:ext cx="160310" cy="152294"/>
          </a:xfrm>
          <a:custGeom>
            <a:avLst/>
            <a:gdLst>
              <a:gd name="T0" fmla="*/ 163 w 180"/>
              <a:gd name="T1" fmla="*/ 17 h 171"/>
              <a:gd name="T2" fmla="*/ 154 w 180"/>
              <a:gd name="T3" fmla="*/ 7 h 171"/>
              <a:gd name="T4" fmla="*/ 146 w 180"/>
              <a:gd name="T5" fmla="*/ 0 h 171"/>
              <a:gd name="T6" fmla="*/ 111 w 180"/>
              <a:gd name="T7" fmla="*/ 7 h 171"/>
              <a:gd name="T8" fmla="*/ 85 w 180"/>
              <a:gd name="T9" fmla="*/ 17 h 171"/>
              <a:gd name="T10" fmla="*/ 68 w 180"/>
              <a:gd name="T11" fmla="*/ 24 h 171"/>
              <a:gd name="T12" fmla="*/ 75 w 180"/>
              <a:gd name="T13" fmla="*/ 33 h 171"/>
              <a:gd name="T14" fmla="*/ 94 w 180"/>
              <a:gd name="T15" fmla="*/ 33 h 171"/>
              <a:gd name="T16" fmla="*/ 111 w 180"/>
              <a:gd name="T17" fmla="*/ 24 h 171"/>
              <a:gd name="T18" fmla="*/ 102 w 180"/>
              <a:gd name="T19" fmla="*/ 43 h 171"/>
              <a:gd name="T20" fmla="*/ 102 w 180"/>
              <a:gd name="T21" fmla="*/ 59 h 171"/>
              <a:gd name="T22" fmla="*/ 102 w 180"/>
              <a:gd name="T23" fmla="*/ 69 h 171"/>
              <a:gd name="T24" fmla="*/ 85 w 180"/>
              <a:gd name="T25" fmla="*/ 76 h 171"/>
              <a:gd name="T26" fmla="*/ 68 w 180"/>
              <a:gd name="T27" fmla="*/ 95 h 171"/>
              <a:gd name="T28" fmla="*/ 49 w 180"/>
              <a:gd name="T29" fmla="*/ 95 h 171"/>
              <a:gd name="T30" fmla="*/ 33 w 180"/>
              <a:gd name="T31" fmla="*/ 95 h 171"/>
              <a:gd name="T32" fmla="*/ 16 w 180"/>
              <a:gd name="T33" fmla="*/ 85 h 171"/>
              <a:gd name="T34" fmla="*/ 7 w 180"/>
              <a:gd name="T35" fmla="*/ 102 h 171"/>
              <a:gd name="T36" fmla="*/ 16 w 180"/>
              <a:gd name="T37" fmla="*/ 111 h 171"/>
              <a:gd name="T38" fmla="*/ 26 w 180"/>
              <a:gd name="T39" fmla="*/ 119 h 171"/>
              <a:gd name="T40" fmla="*/ 16 w 180"/>
              <a:gd name="T41" fmla="*/ 128 h 171"/>
              <a:gd name="T42" fmla="*/ 42 w 180"/>
              <a:gd name="T43" fmla="*/ 119 h 171"/>
              <a:gd name="T44" fmla="*/ 59 w 180"/>
              <a:gd name="T45" fmla="*/ 119 h 171"/>
              <a:gd name="T46" fmla="*/ 59 w 180"/>
              <a:gd name="T47" fmla="*/ 137 h 171"/>
              <a:gd name="T48" fmla="*/ 59 w 180"/>
              <a:gd name="T49" fmla="*/ 137 h 171"/>
              <a:gd name="T50" fmla="*/ 75 w 180"/>
              <a:gd name="T51" fmla="*/ 145 h 171"/>
              <a:gd name="T52" fmla="*/ 75 w 180"/>
              <a:gd name="T53" fmla="*/ 154 h 171"/>
              <a:gd name="T54" fmla="*/ 94 w 180"/>
              <a:gd name="T55" fmla="*/ 171 h 171"/>
              <a:gd name="T56" fmla="*/ 120 w 180"/>
              <a:gd name="T57" fmla="*/ 171 h 171"/>
              <a:gd name="T58" fmla="*/ 137 w 180"/>
              <a:gd name="T59" fmla="*/ 163 h 171"/>
              <a:gd name="T60" fmla="*/ 146 w 180"/>
              <a:gd name="T61" fmla="*/ 154 h 171"/>
              <a:gd name="T62" fmla="*/ 137 w 180"/>
              <a:gd name="T63" fmla="*/ 137 h 171"/>
              <a:gd name="T64" fmla="*/ 137 w 180"/>
              <a:gd name="T65" fmla="*/ 119 h 171"/>
              <a:gd name="T66" fmla="*/ 154 w 180"/>
              <a:gd name="T67" fmla="*/ 95 h 171"/>
              <a:gd name="T68" fmla="*/ 154 w 180"/>
              <a:gd name="T69" fmla="*/ 95 h 171"/>
              <a:gd name="T70" fmla="*/ 163 w 180"/>
              <a:gd name="T71" fmla="*/ 76 h 171"/>
              <a:gd name="T72" fmla="*/ 172 w 180"/>
              <a:gd name="T73" fmla="*/ 59 h 171"/>
              <a:gd name="T74" fmla="*/ 180 w 180"/>
              <a:gd name="T75" fmla="*/ 43 h 171"/>
              <a:gd name="T76" fmla="*/ 172 w 180"/>
              <a:gd name="T77" fmla="*/ 24 h 1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80" h="171">
                <a:moveTo>
                  <a:pt x="172" y="24"/>
                </a:moveTo>
                <a:lnTo>
                  <a:pt x="163" y="17"/>
                </a:lnTo>
                <a:lnTo>
                  <a:pt x="163" y="7"/>
                </a:lnTo>
                <a:lnTo>
                  <a:pt x="154" y="7"/>
                </a:lnTo>
                <a:lnTo>
                  <a:pt x="146" y="7"/>
                </a:lnTo>
                <a:lnTo>
                  <a:pt x="146" y="0"/>
                </a:lnTo>
                <a:lnTo>
                  <a:pt x="120" y="7"/>
                </a:lnTo>
                <a:lnTo>
                  <a:pt x="111" y="7"/>
                </a:lnTo>
                <a:lnTo>
                  <a:pt x="102" y="17"/>
                </a:lnTo>
                <a:lnTo>
                  <a:pt x="85" y="17"/>
                </a:lnTo>
                <a:lnTo>
                  <a:pt x="75" y="24"/>
                </a:lnTo>
                <a:lnTo>
                  <a:pt x="68" y="24"/>
                </a:lnTo>
                <a:lnTo>
                  <a:pt x="68" y="33"/>
                </a:lnTo>
                <a:lnTo>
                  <a:pt x="75" y="33"/>
                </a:lnTo>
                <a:lnTo>
                  <a:pt x="85" y="24"/>
                </a:lnTo>
                <a:lnTo>
                  <a:pt x="94" y="33"/>
                </a:lnTo>
                <a:lnTo>
                  <a:pt x="102" y="24"/>
                </a:lnTo>
                <a:lnTo>
                  <a:pt x="111" y="24"/>
                </a:lnTo>
                <a:lnTo>
                  <a:pt x="111" y="33"/>
                </a:lnTo>
                <a:lnTo>
                  <a:pt x="102" y="43"/>
                </a:lnTo>
                <a:lnTo>
                  <a:pt x="102" y="50"/>
                </a:lnTo>
                <a:lnTo>
                  <a:pt x="102" y="59"/>
                </a:lnTo>
                <a:lnTo>
                  <a:pt x="94" y="59"/>
                </a:lnTo>
                <a:lnTo>
                  <a:pt x="102" y="69"/>
                </a:lnTo>
                <a:lnTo>
                  <a:pt x="94" y="76"/>
                </a:lnTo>
                <a:lnTo>
                  <a:pt x="85" y="76"/>
                </a:lnTo>
                <a:lnTo>
                  <a:pt x="75" y="85"/>
                </a:lnTo>
                <a:lnTo>
                  <a:pt x="68" y="95"/>
                </a:lnTo>
                <a:lnTo>
                  <a:pt x="59" y="85"/>
                </a:lnTo>
                <a:lnTo>
                  <a:pt x="49" y="95"/>
                </a:lnTo>
                <a:lnTo>
                  <a:pt x="42" y="95"/>
                </a:lnTo>
                <a:lnTo>
                  <a:pt x="33" y="95"/>
                </a:lnTo>
                <a:lnTo>
                  <a:pt x="26" y="95"/>
                </a:lnTo>
                <a:lnTo>
                  <a:pt x="16" y="85"/>
                </a:lnTo>
                <a:lnTo>
                  <a:pt x="7" y="95"/>
                </a:lnTo>
                <a:lnTo>
                  <a:pt x="7" y="102"/>
                </a:lnTo>
                <a:lnTo>
                  <a:pt x="0" y="111"/>
                </a:lnTo>
                <a:lnTo>
                  <a:pt x="16" y="111"/>
                </a:lnTo>
                <a:lnTo>
                  <a:pt x="26" y="111"/>
                </a:lnTo>
                <a:lnTo>
                  <a:pt x="26" y="119"/>
                </a:lnTo>
                <a:lnTo>
                  <a:pt x="16" y="119"/>
                </a:lnTo>
                <a:lnTo>
                  <a:pt x="16" y="128"/>
                </a:lnTo>
                <a:lnTo>
                  <a:pt x="33" y="128"/>
                </a:lnTo>
                <a:lnTo>
                  <a:pt x="42" y="119"/>
                </a:lnTo>
                <a:lnTo>
                  <a:pt x="49" y="119"/>
                </a:lnTo>
                <a:lnTo>
                  <a:pt x="59" y="119"/>
                </a:lnTo>
                <a:lnTo>
                  <a:pt x="59" y="128"/>
                </a:lnTo>
                <a:lnTo>
                  <a:pt x="59" y="137"/>
                </a:lnTo>
                <a:lnTo>
                  <a:pt x="68" y="137"/>
                </a:lnTo>
                <a:lnTo>
                  <a:pt x="59" y="137"/>
                </a:lnTo>
                <a:lnTo>
                  <a:pt x="59" y="145"/>
                </a:lnTo>
                <a:lnTo>
                  <a:pt x="75" y="145"/>
                </a:lnTo>
                <a:lnTo>
                  <a:pt x="85" y="145"/>
                </a:lnTo>
                <a:lnTo>
                  <a:pt x="75" y="154"/>
                </a:lnTo>
                <a:lnTo>
                  <a:pt x="85" y="163"/>
                </a:lnTo>
                <a:lnTo>
                  <a:pt x="94" y="171"/>
                </a:lnTo>
                <a:lnTo>
                  <a:pt x="102" y="171"/>
                </a:lnTo>
                <a:lnTo>
                  <a:pt x="120" y="171"/>
                </a:lnTo>
                <a:lnTo>
                  <a:pt x="128" y="171"/>
                </a:lnTo>
                <a:lnTo>
                  <a:pt x="137" y="163"/>
                </a:lnTo>
                <a:lnTo>
                  <a:pt x="137" y="154"/>
                </a:lnTo>
                <a:lnTo>
                  <a:pt x="146" y="154"/>
                </a:lnTo>
                <a:lnTo>
                  <a:pt x="146" y="137"/>
                </a:lnTo>
                <a:lnTo>
                  <a:pt x="137" y="137"/>
                </a:lnTo>
                <a:lnTo>
                  <a:pt x="137" y="128"/>
                </a:lnTo>
                <a:lnTo>
                  <a:pt x="137" y="119"/>
                </a:lnTo>
                <a:lnTo>
                  <a:pt x="146" y="111"/>
                </a:lnTo>
                <a:lnTo>
                  <a:pt x="154" y="95"/>
                </a:lnTo>
                <a:lnTo>
                  <a:pt x="146" y="95"/>
                </a:lnTo>
                <a:lnTo>
                  <a:pt x="154" y="95"/>
                </a:lnTo>
                <a:lnTo>
                  <a:pt x="163" y="85"/>
                </a:lnTo>
                <a:lnTo>
                  <a:pt x="163" y="76"/>
                </a:lnTo>
                <a:lnTo>
                  <a:pt x="163" y="69"/>
                </a:lnTo>
                <a:lnTo>
                  <a:pt x="172" y="59"/>
                </a:lnTo>
                <a:lnTo>
                  <a:pt x="180" y="50"/>
                </a:lnTo>
                <a:lnTo>
                  <a:pt x="180" y="43"/>
                </a:lnTo>
                <a:lnTo>
                  <a:pt x="172" y="33"/>
                </a:lnTo>
                <a:lnTo>
                  <a:pt x="172" y="2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2" name="Freeform 520">
            <a:extLst>
              <a:ext uri="{FF2B5EF4-FFF2-40B4-BE49-F238E27FC236}">
                <a16:creationId xmlns:a16="http://schemas.microsoft.com/office/drawing/2014/main" id="{BACE04A3-FD10-414B-A22F-53E7A001E008}"/>
              </a:ext>
            </a:extLst>
          </p:cNvPr>
          <p:cNvSpPr>
            <a:spLocks/>
          </p:cNvSpPr>
          <p:nvPr/>
        </p:nvSpPr>
        <p:spPr bwMode="auto">
          <a:xfrm>
            <a:off x="1071131" y="1921882"/>
            <a:ext cx="222651" cy="313493"/>
          </a:xfrm>
          <a:custGeom>
            <a:avLst/>
            <a:gdLst>
              <a:gd name="T0" fmla="*/ 104 w 250"/>
              <a:gd name="T1" fmla="*/ 343 h 352"/>
              <a:gd name="T2" fmla="*/ 78 w 250"/>
              <a:gd name="T3" fmla="*/ 333 h 352"/>
              <a:gd name="T4" fmla="*/ 68 w 250"/>
              <a:gd name="T5" fmla="*/ 333 h 352"/>
              <a:gd name="T6" fmla="*/ 42 w 250"/>
              <a:gd name="T7" fmla="*/ 326 h 352"/>
              <a:gd name="T8" fmla="*/ 35 w 250"/>
              <a:gd name="T9" fmla="*/ 352 h 352"/>
              <a:gd name="T10" fmla="*/ 19 w 250"/>
              <a:gd name="T11" fmla="*/ 326 h 352"/>
              <a:gd name="T12" fmla="*/ 9 w 250"/>
              <a:gd name="T13" fmla="*/ 343 h 352"/>
              <a:gd name="T14" fmla="*/ 0 w 250"/>
              <a:gd name="T15" fmla="*/ 317 h 352"/>
              <a:gd name="T16" fmla="*/ 9 w 250"/>
              <a:gd name="T17" fmla="*/ 300 h 352"/>
              <a:gd name="T18" fmla="*/ 26 w 250"/>
              <a:gd name="T19" fmla="*/ 284 h 352"/>
              <a:gd name="T20" fmla="*/ 52 w 250"/>
              <a:gd name="T21" fmla="*/ 265 h 352"/>
              <a:gd name="T22" fmla="*/ 68 w 250"/>
              <a:gd name="T23" fmla="*/ 248 h 352"/>
              <a:gd name="T24" fmla="*/ 52 w 250"/>
              <a:gd name="T25" fmla="*/ 232 h 352"/>
              <a:gd name="T26" fmla="*/ 35 w 250"/>
              <a:gd name="T27" fmla="*/ 222 h 352"/>
              <a:gd name="T28" fmla="*/ 52 w 250"/>
              <a:gd name="T29" fmla="*/ 206 h 352"/>
              <a:gd name="T30" fmla="*/ 26 w 250"/>
              <a:gd name="T31" fmla="*/ 215 h 352"/>
              <a:gd name="T32" fmla="*/ 19 w 250"/>
              <a:gd name="T33" fmla="*/ 206 h 352"/>
              <a:gd name="T34" fmla="*/ 42 w 250"/>
              <a:gd name="T35" fmla="*/ 180 h 352"/>
              <a:gd name="T36" fmla="*/ 42 w 250"/>
              <a:gd name="T37" fmla="*/ 170 h 352"/>
              <a:gd name="T38" fmla="*/ 68 w 250"/>
              <a:gd name="T39" fmla="*/ 146 h 352"/>
              <a:gd name="T40" fmla="*/ 42 w 250"/>
              <a:gd name="T41" fmla="*/ 154 h 352"/>
              <a:gd name="T42" fmla="*/ 19 w 250"/>
              <a:gd name="T43" fmla="*/ 154 h 352"/>
              <a:gd name="T44" fmla="*/ 35 w 250"/>
              <a:gd name="T45" fmla="*/ 127 h 352"/>
              <a:gd name="T46" fmla="*/ 52 w 250"/>
              <a:gd name="T47" fmla="*/ 111 h 352"/>
              <a:gd name="T48" fmla="*/ 68 w 250"/>
              <a:gd name="T49" fmla="*/ 94 h 352"/>
              <a:gd name="T50" fmla="*/ 61 w 250"/>
              <a:gd name="T51" fmla="*/ 85 h 352"/>
              <a:gd name="T52" fmla="*/ 61 w 250"/>
              <a:gd name="T53" fmla="*/ 59 h 352"/>
              <a:gd name="T54" fmla="*/ 87 w 250"/>
              <a:gd name="T55" fmla="*/ 49 h 352"/>
              <a:gd name="T56" fmla="*/ 104 w 250"/>
              <a:gd name="T57" fmla="*/ 68 h 352"/>
              <a:gd name="T58" fmla="*/ 94 w 250"/>
              <a:gd name="T59" fmla="*/ 42 h 352"/>
              <a:gd name="T60" fmla="*/ 104 w 250"/>
              <a:gd name="T61" fmla="*/ 26 h 352"/>
              <a:gd name="T62" fmla="*/ 120 w 250"/>
              <a:gd name="T63" fmla="*/ 26 h 352"/>
              <a:gd name="T64" fmla="*/ 139 w 250"/>
              <a:gd name="T65" fmla="*/ 0 h 352"/>
              <a:gd name="T66" fmla="*/ 156 w 250"/>
              <a:gd name="T67" fmla="*/ 16 h 352"/>
              <a:gd name="T68" fmla="*/ 182 w 250"/>
              <a:gd name="T69" fmla="*/ 26 h 352"/>
              <a:gd name="T70" fmla="*/ 208 w 250"/>
              <a:gd name="T71" fmla="*/ 26 h 352"/>
              <a:gd name="T72" fmla="*/ 215 w 250"/>
              <a:gd name="T73" fmla="*/ 42 h 352"/>
              <a:gd name="T74" fmla="*/ 191 w 250"/>
              <a:gd name="T75" fmla="*/ 59 h 352"/>
              <a:gd name="T76" fmla="*/ 163 w 250"/>
              <a:gd name="T77" fmla="*/ 68 h 352"/>
              <a:gd name="T78" fmla="*/ 149 w 250"/>
              <a:gd name="T79" fmla="*/ 85 h 352"/>
              <a:gd name="T80" fmla="*/ 139 w 250"/>
              <a:gd name="T81" fmla="*/ 101 h 352"/>
              <a:gd name="T82" fmla="*/ 130 w 250"/>
              <a:gd name="T83" fmla="*/ 120 h 352"/>
              <a:gd name="T84" fmla="*/ 163 w 250"/>
              <a:gd name="T85" fmla="*/ 111 h 352"/>
              <a:gd name="T86" fmla="*/ 208 w 250"/>
              <a:gd name="T87" fmla="*/ 111 h 352"/>
              <a:gd name="T88" fmla="*/ 224 w 250"/>
              <a:gd name="T89" fmla="*/ 127 h 352"/>
              <a:gd name="T90" fmla="*/ 250 w 250"/>
              <a:gd name="T91" fmla="*/ 127 h 352"/>
              <a:gd name="T92" fmla="*/ 243 w 250"/>
              <a:gd name="T93" fmla="*/ 154 h 352"/>
              <a:gd name="T94" fmla="*/ 224 w 250"/>
              <a:gd name="T95" fmla="*/ 163 h 352"/>
              <a:gd name="T96" fmla="*/ 224 w 250"/>
              <a:gd name="T97" fmla="*/ 189 h 352"/>
              <a:gd name="T98" fmla="*/ 198 w 250"/>
              <a:gd name="T99" fmla="*/ 215 h 352"/>
              <a:gd name="T100" fmla="*/ 172 w 250"/>
              <a:gd name="T101" fmla="*/ 215 h 352"/>
              <a:gd name="T102" fmla="*/ 149 w 250"/>
              <a:gd name="T103" fmla="*/ 222 h 352"/>
              <a:gd name="T104" fmla="*/ 172 w 250"/>
              <a:gd name="T105" fmla="*/ 232 h 352"/>
              <a:gd name="T106" fmla="*/ 149 w 250"/>
              <a:gd name="T107" fmla="*/ 248 h 352"/>
              <a:gd name="T108" fmla="*/ 120 w 250"/>
              <a:gd name="T109" fmla="*/ 241 h 352"/>
              <a:gd name="T110" fmla="*/ 120 w 250"/>
              <a:gd name="T111" fmla="*/ 248 h 352"/>
              <a:gd name="T112" fmla="*/ 156 w 250"/>
              <a:gd name="T113" fmla="*/ 258 h 352"/>
              <a:gd name="T114" fmla="*/ 182 w 250"/>
              <a:gd name="T115" fmla="*/ 274 h 352"/>
              <a:gd name="T116" fmla="*/ 172 w 250"/>
              <a:gd name="T117" fmla="*/ 310 h 352"/>
              <a:gd name="T118" fmla="*/ 163 w 250"/>
              <a:gd name="T119" fmla="*/ 317 h 352"/>
              <a:gd name="T120" fmla="*/ 149 w 250"/>
              <a:gd name="T121" fmla="*/ 326 h 352"/>
              <a:gd name="T122" fmla="*/ 130 w 250"/>
              <a:gd name="T123" fmla="*/ 343 h 352"/>
              <a:gd name="T124" fmla="*/ 113 w 250"/>
              <a:gd name="T125" fmla="*/ 343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50" h="352">
                <a:moveTo>
                  <a:pt x="113" y="343"/>
                </a:moveTo>
                <a:lnTo>
                  <a:pt x="113" y="333"/>
                </a:lnTo>
                <a:lnTo>
                  <a:pt x="104" y="343"/>
                </a:lnTo>
                <a:lnTo>
                  <a:pt x="94" y="343"/>
                </a:lnTo>
                <a:lnTo>
                  <a:pt x="87" y="333"/>
                </a:lnTo>
                <a:lnTo>
                  <a:pt x="78" y="333"/>
                </a:lnTo>
                <a:lnTo>
                  <a:pt x="78" y="343"/>
                </a:lnTo>
                <a:lnTo>
                  <a:pt x="68" y="343"/>
                </a:lnTo>
                <a:lnTo>
                  <a:pt x="68" y="333"/>
                </a:lnTo>
                <a:lnTo>
                  <a:pt x="52" y="343"/>
                </a:lnTo>
                <a:lnTo>
                  <a:pt x="52" y="333"/>
                </a:lnTo>
                <a:lnTo>
                  <a:pt x="42" y="326"/>
                </a:lnTo>
                <a:lnTo>
                  <a:pt x="35" y="333"/>
                </a:lnTo>
                <a:lnTo>
                  <a:pt x="35" y="343"/>
                </a:lnTo>
                <a:lnTo>
                  <a:pt x="35" y="352"/>
                </a:lnTo>
                <a:lnTo>
                  <a:pt x="26" y="343"/>
                </a:lnTo>
                <a:lnTo>
                  <a:pt x="26" y="333"/>
                </a:lnTo>
                <a:lnTo>
                  <a:pt x="19" y="326"/>
                </a:lnTo>
                <a:lnTo>
                  <a:pt x="9" y="326"/>
                </a:lnTo>
                <a:lnTo>
                  <a:pt x="9" y="333"/>
                </a:lnTo>
                <a:lnTo>
                  <a:pt x="9" y="343"/>
                </a:lnTo>
                <a:lnTo>
                  <a:pt x="0" y="343"/>
                </a:lnTo>
                <a:lnTo>
                  <a:pt x="0" y="333"/>
                </a:lnTo>
                <a:lnTo>
                  <a:pt x="0" y="317"/>
                </a:lnTo>
                <a:lnTo>
                  <a:pt x="0" y="310"/>
                </a:lnTo>
                <a:lnTo>
                  <a:pt x="9" y="310"/>
                </a:lnTo>
                <a:lnTo>
                  <a:pt x="9" y="300"/>
                </a:lnTo>
                <a:lnTo>
                  <a:pt x="19" y="300"/>
                </a:lnTo>
                <a:lnTo>
                  <a:pt x="26" y="291"/>
                </a:lnTo>
                <a:lnTo>
                  <a:pt x="26" y="284"/>
                </a:lnTo>
                <a:lnTo>
                  <a:pt x="35" y="284"/>
                </a:lnTo>
                <a:lnTo>
                  <a:pt x="42" y="274"/>
                </a:lnTo>
                <a:lnTo>
                  <a:pt x="52" y="265"/>
                </a:lnTo>
                <a:lnTo>
                  <a:pt x="61" y="258"/>
                </a:lnTo>
                <a:lnTo>
                  <a:pt x="61" y="248"/>
                </a:lnTo>
                <a:lnTo>
                  <a:pt x="68" y="248"/>
                </a:lnTo>
                <a:lnTo>
                  <a:pt x="68" y="241"/>
                </a:lnTo>
                <a:lnTo>
                  <a:pt x="61" y="241"/>
                </a:lnTo>
                <a:lnTo>
                  <a:pt x="52" y="232"/>
                </a:lnTo>
                <a:lnTo>
                  <a:pt x="42" y="232"/>
                </a:lnTo>
                <a:lnTo>
                  <a:pt x="35" y="232"/>
                </a:lnTo>
                <a:lnTo>
                  <a:pt x="35" y="222"/>
                </a:lnTo>
                <a:lnTo>
                  <a:pt x="42" y="222"/>
                </a:lnTo>
                <a:lnTo>
                  <a:pt x="52" y="215"/>
                </a:lnTo>
                <a:lnTo>
                  <a:pt x="52" y="206"/>
                </a:lnTo>
                <a:lnTo>
                  <a:pt x="42" y="199"/>
                </a:lnTo>
                <a:lnTo>
                  <a:pt x="35" y="199"/>
                </a:lnTo>
                <a:lnTo>
                  <a:pt x="26" y="215"/>
                </a:lnTo>
                <a:lnTo>
                  <a:pt x="19" y="222"/>
                </a:lnTo>
                <a:lnTo>
                  <a:pt x="19" y="215"/>
                </a:lnTo>
                <a:lnTo>
                  <a:pt x="19" y="206"/>
                </a:lnTo>
                <a:lnTo>
                  <a:pt x="26" y="189"/>
                </a:lnTo>
                <a:lnTo>
                  <a:pt x="35" y="180"/>
                </a:lnTo>
                <a:lnTo>
                  <a:pt x="42" y="180"/>
                </a:lnTo>
                <a:lnTo>
                  <a:pt x="52" y="180"/>
                </a:lnTo>
                <a:lnTo>
                  <a:pt x="52" y="170"/>
                </a:lnTo>
                <a:lnTo>
                  <a:pt x="42" y="170"/>
                </a:lnTo>
                <a:lnTo>
                  <a:pt x="52" y="163"/>
                </a:lnTo>
                <a:lnTo>
                  <a:pt x="61" y="154"/>
                </a:lnTo>
                <a:lnTo>
                  <a:pt x="68" y="146"/>
                </a:lnTo>
                <a:lnTo>
                  <a:pt x="61" y="146"/>
                </a:lnTo>
                <a:lnTo>
                  <a:pt x="52" y="154"/>
                </a:lnTo>
                <a:lnTo>
                  <a:pt x="42" y="154"/>
                </a:lnTo>
                <a:lnTo>
                  <a:pt x="35" y="170"/>
                </a:lnTo>
                <a:lnTo>
                  <a:pt x="26" y="163"/>
                </a:lnTo>
                <a:lnTo>
                  <a:pt x="19" y="154"/>
                </a:lnTo>
                <a:lnTo>
                  <a:pt x="35" y="146"/>
                </a:lnTo>
                <a:lnTo>
                  <a:pt x="35" y="137"/>
                </a:lnTo>
                <a:lnTo>
                  <a:pt x="35" y="127"/>
                </a:lnTo>
                <a:lnTo>
                  <a:pt x="42" y="120"/>
                </a:lnTo>
                <a:lnTo>
                  <a:pt x="52" y="120"/>
                </a:lnTo>
                <a:lnTo>
                  <a:pt x="52" y="111"/>
                </a:lnTo>
                <a:lnTo>
                  <a:pt x="52" y="101"/>
                </a:lnTo>
                <a:lnTo>
                  <a:pt x="68" y="101"/>
                </a:lnTo>
                <a:lnTo>
                  <a:pt x="68" y="94"/>
                </a:lnTo>
                <a:lnTo>
                  <a:pt x="61" y="85"/>
                </a:lnTo>
                <a:lnTo>
                  <a:pt x="52" y="85"/>
                </a:lnTo>
                <a:lnTo>
                  <a:pt x="61" y="85"/>
                </a:lnTo>
                <a:lnTo>
                  <a:pt x="61" y="75"/>
                </a:lnTo>
                <a:lnTo>
                  <a:pt x="61" y="68"/>
                </a:lnTo>
                <a:lnTo>
                  <a:pt x="61" y="59"/>
                </a:lnTo>
                <a:lnTo>
                  <a:pt x="68" y="49"/>
                </a:lnTo>
                <a:lnTo>
                  <a:pt x="78" y="49"/>
                </a:lnTo>
                <a:lnTo>
                  <a:pt x="87" y="49"/>
                </a:lnTo>
                <a:lnTo>
                  <a:pt x="87" y="59"/>
                </a:lnTo>
                <a:lnTo>
                  <a:pt x="94" y="59"/>
                </a:lnTo>
                <a:lnTo>
                  <a:pt x="104" y="68"/>
                </a:lnTo>
                <a:lnTo>
                  <a:pt x="104" y="59"/>
                </a:lnTo>
                <a:lnTo>
                  <a:pt x="104" y="49"/>
                </a:lnTo>
                <a:lnTo>
                  <a:pt x="94" y="42"/>
                </a:lnTo>
                <a:lnTo>
                  <a:pt x="104" y="33"/>
                </a:lnTo>
                <a:lnTo>
                  <a:pt x="113" y="33"/>
                </a:lnTo>
                <a:lnTo>
                  <a:pt x="104" y="26"/>
                </a:lnTo>
                <a:lnTo>
                  <a:pt x="120" y="33"/>
                </a:lnTo>
                <a:lnTo>
                  <a:pt x="130" y="26"/>
                </a:lnTo>
                <a:lnTo>
                  <a:pt x="120" y="26"/>
                </a:lnTo>
                <a:lnTo>
                  <a:pt x="130" y="7"/>
                </a:lnTo>
                <a:lnTo>
                  <a:pt x="130" y="0"/>
                </a:lnTo>
                <a:lnTo>
                  <a:pt x="139" y="0"/>
                </a:lnTo>
                <a:lnTo>
                  <a:pt x="156" y="7"/>
                </a:lnTo>
                <a:lnTo>
                  <a:pt x="149" y="7"/>
                </a:lnTo>
                <a:lnTo>
                  <a:pt x="156" y="16"/>
                </a:lnTo>
                <a:lnTo>
                  <a:pt x="163" y="7"/>
                </a:lnTo>
                <a:lnTo>
                  <a:pt x="163" y="16"/>
                </a:lnTo>
                <a:lnTo>
                  <a:pt x="182" y="26"/>
                </a:lnTo>
                <a:lnTo>
                  <a:pt x="198" y="16"/>
                </a:lnTo>
                <a:lnTo>
                  <a:pt x="198" y="26"/>
                </a:lnTo>
                <a:lnTo>
                  <a:pt x="208" y="26"/>
                </a:lnTo>
                <a:lnTo>
                  <a:pt x="215" y="26"/>
                </a:lnTo>
                <a:lnTo>
                  <a:pt x="224" y="33"/>
                </a:lnTo>
                <a:lnTo>
                  <a:pt x="215" y="42"/>
                </a:lnTo>
                <a:lnTo>
                  <a:pt x="215" y="49"/>
                </a:lnTo>
                <a:lnTo>
                  <a:pt x="198" y="49"/>
                </a:lnTo>
                <a:lnTo>
                  <a:pt x="191" y="59"/>
                </a:lnTo>
                <a:lnTo>
                  <a:pt x="182" y="68"/>
                </a:lnTo>
                <a:lnTo>
                  <a:pt x="172" y="68"/>
                </a:lnTo>
                <a:lnTo>
                  <a:pt x="163" y="68"/>
                </a:lnTo>
                <a:lnTo>
                  <a:pt x="156" y="75"/>
                </a:lnTo>
                <a:lnTo>
                  <a:pt x="156" y="85"/>
                </a:lnTo>
                <a:lnTo>
                  <a:pt x="149" y="85"/>
                </a:lnTo>
                <a:lnTo>
                  <a:pt x="130" y="94"/>
                </a:lnTo>
                <a:lnTo>
                  <a:pt x="130" y="101"/>
                </a:lnTo>
                <a:lnTo>
                  <a:pt x="139" y="101"/>
                </a:lnTo>
                <a:lnTo>
                  <a:pt x="130" y="101"/>
                </a:lnTo>
                <a:lnTo>
                  <a:pt x="130" y="111"/>
                </a:lnTo>
                <a:lnTo>
                  <a:pt x="130" y="120"/>
                </a:lnTo>
                <a:lnTo>
                  <a:pt x="139" y="120"/>
                </a:lnTo>
                <a:lnTo>
                  <a:pt x="156" y="111"/>
                </a:lnTo>
                <a:lnTo>
                  <a:pt x="163" y="111"/>
                </a:lnTo>
                <a:lnTo>
                  <a:pt x="182" y="111"/>
                </a:lnTo>
                <a:lnTo>
                  <a:pt x="191" y="111"/>
                </a:lnTo>
                <a:lnTo>
                  <a:pt x="208" y="111"/>
                </a:lnTo>
                <a:lnTo>
                  <a:pt x="215" y="111"/>
                </a:lnTo>
                <a:lnTo>
                  <a:pt x="224" y="120"/>
                </a:lnTo>
                <a:lnTo>
                  <a:pt x="224" y="127"/>
                </a:lnTo>
                <a:lnTo>
                  <a:pt x="234" y="127"/>
                </a:lnTo>
                <a:lnTo>
                  <a:pt x="243" y="127"/>
                </a:lnTo>
                <a:lnTo>
                  <a:pt x="250" y="127"/>
                </a:lnTo>
                <a:lnTo>
                  <a:pt x="250" y="137"/>
                </a:lnTo>
                <a:lnTo>
                  <a:pt x="250" y="146"/>
                </a:lnTo>
                <a:lnTo>
                  <a:pt x="243" y="154"/>
                </a:lnTo>
                <a:lnTo>
                  <a:pt x="234" y="154"/>
                </a:lnTo>
                <a:lnTo>
                  <a:pt x="234" y="163"/>
                </a:lnTo>
                <a:lnTo>
                  <a:pt x="224" y="163"/>
                </a:lnTo>
                <a:lnTo>
                  <a:pt x="215" y="170"/>
                </a:lnTo>
                <a:lnTo>
                  <a:pt x="224" y="180"/>
                </a:lnTo>
                <a:lnTo>
                  <a:pt x="224" y="189"/>
                </a:lnTo>
                <a:lnTo>
                  <a:pt x="215" y="199"/>
                </a:lnTo>
                <a:lnTo>
                  <a:pt x="198" y="206"/>
                </a:lnTo>
                <a:lnTo>
                  <a:pt x="198" y="215"/>
                </a:lnTo>
                <a:lnTo>
                  <a:pt x="191" y="215"/>
                </a:lnTo>
                <a:lnTo>
                  <a:pt x="182" y="222"/>
                </a:lnTo>
                <a:lnTo>
                  <a:pt x="172" y="215"/>
                </a:lnTo>
                <a:lnTo>
                  <a:pt x="163" y="215"/>
                </a:lnTo>
                <a:lnTo>
                  <a:pt x="149" y="215"/>
                </a:lnTo>
                <a:lnTo>
                  <a:pt x="149" y="222"/>
                </a:lnTo>
                <a:lnTo>
                  <a:pt x="156" y="222"/>
                </a:lnTo>
                <a:lnTo>
                  <a:pt x="163" y="232"/>
                </a:lnTo>
                <a:lnTo>
                  <a:pt x="172" y="232"/>
                </a:lnTo>
                <a:lnTo>
                  <a:pt x="163" y="241"/>
                </a:lnTo>
                <a:lnTo>
                  <a:pt x="149" y="241"/>
                </a:lnTo>
                <a:lnTo>
                  <a:pt x="149" y="248"/>
                </a:lnTo>
                <a:lnTo>
                  <a:pt x="139" y="248"/>
                </a:lnTo>
                <a:lnTo>
                  <a:pt x="130" y="248"/>
                </a:lnTo>
                <a:lnTo>
                  <a:pt x="120" y="241"/>
                </a:lnTo>
                <a:lnTo>
                  <a:pt x="113" y="241"/>
                </a:lnTo>
                <a:lnTo>
                  <a:pt x="113" y="248"/>
                </a:lnTo>
                <a:lnTo>
                  <a:pt x="120" y="248"/>
                </a:lnTo>
                <a:lnTo>
                  <a:pt x="130" y="258"/>
                </a:lnTo>
                <a:lnTo>
                  <a:pt x="139" y="258"/>
                </a:lnTo>
                <a:lnTo>
                  <a:pt x="156" y="258"/>
                </a:lnTo>
                <a:lnTo>
                  <a:pt x="163" y="258"/>
                </a:lnTo>
                <a:lnTo>
                  <a:pt x="172" y="265"/>
                </a:lnTo>
                <a:lnTo>
                  <a:pt x="182" y="274"/>
                </a:lnTo>
                <a:lnTo>
                  <a:pt x="191" y="291"/>
                </a:lnTo>
                <a:lnTo>
                  <a:pt x="182" y="310"/>
                </a:lnTo>
                <a:lnTo>
                  <a:pt x="172" y="310"/>
                </a:lnTo>
                <a:lnTo>
                  <a:pt x="182" y="317"/>
                </a:lnTo>
                <a:lnTo>
                  <a:pt x="172" y="326"/>
                </a:lnTo>
                <a:lnTo>
                  <a:pt x="163" y="317"/>
                </a:lnTo>
                <a:lnTo>
                  <a:pt x="156" y="317"/>
                </a:lnTo>
                <a:lnTo>
                  <a:pt x="156" y="326"/>
                </a:lnTo>
                <a:lnTo>
                  <a:pt x="149" y="326"/>
                </a:lnTo>
                <a:lnTo>
                  <a:pt x="149" y="333"/>
                </a:lnTo>
                <a:lnTo>
                  <a:pt x="139" y="333"/>
                </a:lnTo>
                <a:lnTo>
                  <a:pt x="130" y="343"/>
                </a:lnTo>
                <a:lnTo>
                  <a:pt x="120" y="352"/>
                </a:lnTo>
                <a:lnTo>
                  <a:pt x="113" y="352"/>
                </a:lnTo>
                <a:lnTo>
                  <a:pt x="113" y="34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3" name="Freeform 521">
            <a:extLst>
              <a:ext uri="{FF2B5EF4-FFF2-40B4-BE49-F238E27FC236}">
                <a16:creationId xmlns:a16="http://schemas.microsoft.com/office/drawing/2014/main" id="{86D8406A-F213-44E8-8D3C-04B60D7BA56E}"/>
              </a:ext>
            </a:extLst>
          </p:cNvPr>
          <p:cNvSpPr>
            <a:spLocks/>
          </p:cNvSpPr>
          <p:nvPr/>
        </p:nvSpPr>
        <p:spPr bwMode="auto">
          <a:xfrm>
            <a:off x="1456764" y="3026234"/>
            <a:ext cx="722281" cy="758796"/>
          </a:xfrm>
          <a:custGeom>
            <a:avLst/>
            <a:gdLst>
              <a:gd name="T0" fmla="*/ 78 w 811"/>
              <a:gd name="T1" fmla="*/ 258 h 852"/>
              <a:gd name="T2" fmla="*/ 120 w 811"/>
              <a:gd name="T3" fmla="*/ 215 h 852"/>
              <a:gd name="T4" fmla="*/ 198 w 811"/>
              <a:gd name="T5" fmla="*/ 241 h 852"/>
              <a:gd name="T6" fmla="*/ 215 w 811"/>
              <a:gd name="T7" fmla="*/ 234 h 852"/>
              <a:gd name="T8" fmla="*/ 241 w 811"/>
              <a:gd name="T9" fmla="*/ 310 h 852"/>
              <a:gd name="T10" fmla="*/ 302 w 811"/>
              <a:gd name="T11" fmla="*/ 414 h 852"/>
              <a:gd name="T12" fmla="*/ 404 w 811"/>
              <a:gd name="T13" fmla="*/ 525 h 852"/>
              <a:gd name="T14" fmla="*/ 456 w 811"/>
              <a:gd name="T15" fmla="*/ 551 h 852"/>
              <a:gd name="T16" fmla="*/ 525 w 811"/>
              <a:gd name="T17" fmla="*/ 613 h 852"/>
              <a:gd name="T18" fmla="*/ 544 w 811"/>
              <a:gd name="T19" fmla="*/ 653 h 852"/>
              <a:gd name="T20" fmla="*/ 603 w 811"/>
              <a:gd name="T21" fmla="*/ 682 h 852"/>
              <a:gd name="T22" fmla="*/ 629 w 811"/>
              <a:gd name="T23" fmla="*/ 776 h 852"/>
              <a:gd name="T24" fmla="*/ 603 w 811"/>
              <a:gd name="T25" fmla="*/ 802 h 852"/>
              <a:gd name="T26" fmla="*/ 586 w 811"/>
              <a:gd name="T27" fmla="*/ 845 h 852"/>
              <a:gd name="T28" fmla="*/ 629 w 811"/>
              <a:gd name="T29" fmla="*/ 845 h 852"/>
              <a:gd name="T30" fmla="*/ 655 w 811"/>
              <a:gd name="T31" fmla="*/ 802 h 852"/>
              <a:gd name="T32" fmla="*/ 698 w 811"/>
              <a:gd name="T33" fmla="*/ 776 h 852"/>
              <a:gd name="T34" fmla="*/ 707 w 811"/>
              <a:gd name="T35" fmla="*/ 731 h 852"/>
              <a:gd name="T36" fmla="*/ 674 w 811"/>
              <a:gd name="T37" fmla="*/ 701 h 852"/>
              <a:gd name="T38" fmla="*/ 690 w 811"/>
              <a:gd name="T39" fmla="*/ 646 h 852"/>
              <a:gd name="T40" fmla="*/ 716 w 811"/>
              <a:gd name="T41" fmla="*/ 630 h 852"/>
              <a:gd name="T42" fmla="*/ 759 w 811"/>
              <a:gd name="T43" fmla="*/ 646 h 852"/>
              <a:gd name="T44" fmla="*/ 776 w 811"/>
              <a:gd name="T45" fmla="*/ 682 h 852"/>
              <a:gd name="T46" fmla="*/ 811 w 811"/>
              <a:gd name="T47" fmla="*/ 663 h 852"/>
              <a:gd name="T48" fmla="*/ 776 w 811"/>
              <a:gd name="T49" fmla="*/ 604 h 852"/>
              <a:gd name="T50" fmla="*/ 698 w 811"/>
              <a:gd name="T51" fmla="*/ 568 h 852"/>
              <a:gd name="T52" fmla="*/ 648 w 811"/>
              <a:gd name="T53" fmla="*/ 544 h 852"/>
              <a:gd name="T54" fmla="*/ 648 w 811"/>
              <a:gd name="T55" fmla="*/ 518 h 852"/>
              <a:gd name="T56" fmla="*/ 570 w 811"/>
              <a:gd name="T57" fmla="*/ 492 h 852"/>
              <a:gd name="T58" fmla="*/ 508 w 811"/>
              <a:gd name="T59" fmla="*/ 424 h 852"/>
              <a:gd name="T60" fmla="*/ 482 w 811"/>
              <a:gd name="T61" fmla="*/ 346 h 852"/>
              <a:gd name="T62" fmla="*/ 449 w 811"/>
              <a:gd name="T63" fmla="*/ 303 h 852"/>
              <a:gd name="T64" fmla="*/ 397 w 811"/>
              <a:gd name="T65" fmla="*/ 267 h 852"/>
              <a:gd name="T66" fmla="*/ 397 w 811"/>
              <a:gd name="T67" fmla="*/ 215 h 852"/>
              <a:gd name="T68" fmla="*/ 397 w 811"/>
              <a:gd name="T69" fmla="*/ 182 h 852"/>
              <a:gd name="T70" fmla="*/ 404 w 811"/>
              <a:gd name="T71" fmla="*/ 147 h 852"/>
              <a:gd name="T72" fmla="*/ 456 w 811"/>
              <a:gd name="T73" fmla="*/ 140 h 852"/>
              <a:gd name="T74" fmla="*/ 482 w 811"/>
              <a:gd name="T75" fmla="*/ 140 h 852"/>
              <a:gd name="T76" fmla="*/ 501 w 811"/>
              <a:gd name="T77" fmla="*/ 114 h 852"/>
              <a:gd name="T78" fmla="*/ 501 w 811"/>
              <a:gd name="T79" fmla="*/ 71 h 852"/>
              <a:gd name="T80" fmla="*/ 456 w 811"/>
              <a:gd name="T81" fmla="*/ 52 h 852"/>
              <a:gd name="T82" fmla="*/ 423 w 811"/>
              <a:gd name="T83" fmla="*/ 26 h 852"/>
              <a:gd name="T84" fmla="*/ 371 w 811"/>
              <a:gd name="T85" fmla="*/ 9 h 852"/>
              <a:gd name="T86" fmla="*/ 328 w 811"/>
              <a:gd name="T87" fmla="*/ 19 h 852"/>
              <a:gd name="T88" fmla="*/ 302 w 811"/>
              <a:gd name="T89" fmla="*/ 0 h 852"/>
              <a:gd name="T90" fmla="*/ 284 w 811"/>
              <a:gd name="T91" fmla="*/ 26 h 852"/>
              <a:gd name="T92" fmla="*/ 258 w 811"/>
              <a:gd name="T93" fmla="*/ 52 h 852"/>
              <a:gd name="T94" fmla="*/ 224 w 811"/>
              <a:gd name="T95" fmla="*/ 35 h 852"/>
              <a:gd name="T96" fmla="*/ 198 w 811"/>
              <a:gd name="T97" fmla="*/ 52 h 852"/>
              <a:gd name="T98" fmla="*/ 163 w 811"/>
              <a:gd name="T99" fmla="*/ 62 h 852"/>
              <a:gd name="T100" fmla="*/ 137 w 811"/>
              <a:gd name="T101" fmla="*/ 26 h 852"/>
              <a:gd name="T102" fmla="*/ 94 w 811"/>
              <a:gd name="T103" fmla="*/ 62 h 852"/>
              <a:gd name="T104" fmla="*/ 33 w 811"/>
              <a:gd name="T105" fmla="*/ 71 h 852"/>
              <a:gd name="T106" fmla="*/ 42 w 811"/>
              <a:gd name="T107" fmla="*/ 114 h 852"/>
              <a:gd name="T108" fmla="*/ 0 w 811"/>
              <a:gd name="T109" fmla="*/ 130 h 852"/>
              <a:gd name="T110" fmla="*/ 26 w 811"/>
              <a:gd name="T111" fmla="*/ 163 h 852"/>
              <a:gd name="T112" fmla="*/ 16 w 811"/>
              <a:gd name="T113" fmla="*/ 215 h 852"/>
              <a:gd name="T114" fmla="*/ 52 w 811"/>
              <a:gd name="T115" fmla="*/ 251 h 8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11" h="852">
                <a:moveTo>
                  <a:pt x="33" y="277"/>
                </a:moveTo>
                <a:lnTo>
                  <a:pt x="52" y="267"/>
                </a:lnTo>
                <a:lnTo>
                  <a:pt x="59" y="258"/>
                </a:lnTo>
                <a:lnTo>
                  <a:pt x="68" y="258"/>
                </a:lnTo>
                <a:lnTo>
                  <a:pt x="78" y="258"/>
                </a:lnTo>
                <a:lnTo>
                  <a:pt x="94" y="251"/>
                </a:lnTo>
                <a:lnTo>
                  <a:pt x="104" y="241"/>
                </a:lnTo>
                <a:lnTo>
                  <a:pt x="104" y="234"/>
                </a:lnTo>
                <a:lnTo>
                  <a:pt x="111" y="225"/>
                </a:lnTo>
                <a:lnTo>
                  <a:pt x="120" y="215"/>
                </a:lnTo>
                <a:lnTo>
                  <a:pt x="137" y="215"/>
                </a:lnTo>
                <a:lnTo>
                  <a:pt x="146" y="215"/>
                </a:lnTo>
                <a:lnTo>
                  <a:pt x="163" y="234"/>
                </a:lnTo>
                <a:lnTo>
                  <a:pt x="172" y="225"/>
                </a:lnTo>
                <a:lnTo>
                  <a:pt x="198" y="241"/>
                </a:lnTo>
                <a:lnTo>
                  <a:pt x="198" y="234"/>
                </a:lnTo>
                <a:lnTo>
                  <a:pt x="205" y="225"/>
                </a:lnTo>
                <a:lnTo>
                  <a:pt x="215" y="225"/>
                </a:lnTo>
                <a:lnTo>
                  <a:pt x="224" y="225"/>
                </a:lnTo>
                <a:lnTo>
                  <a:pt x="215" y="234"/>
                </a:lnTo>
                <a:lnTo>
                  <a:pt x="215" y="241"/>
                </a:lnTo>
                <a:lnTo>
                  <a:pt x="224" y="251"/>
                </a:lnTo>
                <a:lnTo>
                  <a:pt x="215" y="258"/>
                </a:lnTo>
                <a:lnTo>
                  <a:pt x="231" y="277"/>
                </a:lnTo>
                <a:lnTo>
                  <a:pt x="241" y="310"/>
                </a:lnTo>
                <a:lnTo>
                  <a:pt x="250" y="346"/>
                </a:lnTo>
                <a:lnTo>
                  <a:pt x="258" y="353"/>
                </a:lnTo>
                <a:lnTo>
                  <a:pt x="276" y="398"/>
                </a:lnTo>
                <a:lnTo>
                  <a:pt x="284" y="398"/>
                </a:lnTo>
                <a:lnTo>
                  <a:pt x="302" y="414"/>
                </a:lnTo>
                <a:lnTo>
                  <a:pt x="310" y="431"/>
                </a:lnTo>
                <a:lnTo>
                  <a:pt x="319" y="440"/>
                </a:lnTo>
                <a:lnTo>
                  <a:pt x="328" y="450"/>
                </a:lnTo>
                <a:lnTo>
                  <a:pt x="352" y="473"/>
                </a:lnTo>
                <a:lnTo>
                  <a:pt x="404" y="525"/>
                </a:lnTo>
                <a:lnTo>
                  <a:pt x="414" y="525"/>
                </a:lnTo>
                <a:lnTo>
                  <a:pt x="423" y="544"/>
                </a:lnTo>
                <a:lnTo>
                  <a:pt x="440" y="544"/>
                </a:lnTo>
                <a:lnTo>
                  <a:pt x="449" y="561"/>
                </a:lnTo>
                <a:lnTo>
                  <a:pt x="456" y="551"/>
                </a:lnTo>
                <a:lnTo>
                  <a:pt x="482" y="578"/>
                </a:lnTo>
                <a:lnTo>
                  <a:pt x="492" y="587"/>
                </a:lnTo>
                <a:lnTo>
                  <a:pt x="501" y="594"/>
                </a:lnTo>
                <a:lnTo>
                  <a:pt x="508" y="594"/>
                </a:lnTo>
                <a:lnTo>
                  <a:pt x="525" y="613"/>
                </a:lnTo>
                <a:lnTo>
                  <a:pt x="534" y="613"/>
                </a:lnTo>
                <a:lnTo>
                  <a:pt x="544" y="620"/>
                </a:lnTo>
                <a:lnTo>
                  <a:pt x="544" y="637"/>
                </a:lnTo>
                <a:lnTo>
                  <a:pt x="544" y="646"/>
                </a:lnTo>
                <a:lnTo>
                  <a:pt x="544" y="653"/>
                </a:lnTo>
                <a:lnTo>
                  <a:pt x="560" y="663"/>
                </a:lnTo>
                <a:lnTo>
                  <a:pt x="570" y="663"/>
                </a:lnTo>
                <a:lnTo>
                  <a:pt x="577" y="663"/>
                </a:lnTo>
                <a:lnTo>
                  <a:pt x="596" y="672"/>
                </a:lnTo>
                <a:lnTo>
                  <a:pt x="603" y="682"/>
                </a:lnTo>
                <a:lnTo>
                  <a:pt x="603" y="689"/>
                </a:lnTo>
                <a:lnTo>
                  <a:pt x="612" y="698"/>
                </a:lnTo>
                <a:lnTo>
                  <a:pt x="619" y="724"/>
                </a:lnTo>
                <a:lnTo>
                  <a:pt x="629" y="750"/>
                </a:lnTo>
                <a:lnTo>
                  <a:pt x="629" y="776"/>
                </a:lnTo>
                <a:lnTo>
                  <a:pt x="619" y="783"/>
                </a:lnTo>
                <a:lnTo>
                  <a:pt x="612" y="783"/>
                </a:lnTo>
                <a:lnTo>
                  <a:pt x="603" y="783"/>
                </a:lnTo>
                <a:lnTo>
                  <a:pt x="603" y="793"/>
                </a:lnTo>
                <a:lnTo>
                  <a:pt x="603" y="802"/>
                </a:lnTo>
                <a:lnTo>
                  <a:pt x="603" y="809"/>
                </a:lnTo>
                <a:lnTo>
                  <a:pt x="603" y="819"/>
                </a:lnTo>
                <a:lnTo>
                  <a:pt x="596" y="826"/>
                </a:lnTo>
                <a:lnTo>
                  <a:pt x="586" y="836"/>
                </a:lnTo>
                <a:lnTo>
                  <a:pt x="586" y="845"/>
                </a:lnTo>
                <a:lnTo>
                  <a:pt x="596" y="852"/>
                </a:lnTo>
                <a:lnTo>
                  <a:pt x="603" y="852"/>
                </a:lnTo>
                <a:lnTo>
                  <a:pt x="612" y="852"/>
                </a:lnTo>
                <a:lnTo>
                  <a:pt x="619" y="852"/>
                </a:lnTo>
                <a:lnTo>
                  <a:pt x="629" y="845"/>
                </a:lnTo>
                <a:lnTo>
                  <a:pt x="638" y="845"/>
                </a:lnTo>
                <a:lnTo>
                  <a:pt x="638" y="836"/>
                </a:lnTo>
                <a:lnTo>
                  <a:pt x="655" y="826"/>
                </a:lnTo>
                <a:lnTo>
                  <a:pt x="655" y="819"/>
                </a:lnTo>
                <a:lnTo>
                  <a:pt x="655" y="802"/>
                </a:lnTo>
                <a:lnTo>
                  <a:pt x="664" y="793"/>
                </a:lnTo>
                <a:lnTo>
                  <a:pt x="674" y="783"/>
                </a:lnTo>
                <a:lnTo>
                  <a:pt x="681" y="776"/>
                </a:lnTo>
                <a:lnTo>
                  <a:pt x="690" y="776"/>
                </a:lnTo>
                <a:lnTo>
                  <a:pt x="698" y="776"/>
                </a:lnTo>
                <a:lnTo>
                  <a:pt x="707" y="776"/>
                </a:lnTo>
                <a:lnTo>
                  <a:pt x="707" y="767"/>
                </a:lnTo>
                <a:lnTo>
                  <a:pt x="707" y="757"/>
                </a:lnTo>
                <a:lnTo>
                  <a:pt x="707" y="750"/>
                </a:lnTo>
                <a:lnTo>
                  <a:pt x="707" y="731"/>
                </a:lnTo>
                <a:lnTo>
                  <a:pt x="707" y="724"/>
                </a:lnTo>
                <a:lnTo>
                  <a:pt x="707" y="715"/>
                </a:lnTo>
                <a:lnTo>
                  <a:pt x="698" y="708"/>
                </a:lnTo>
                <a:lnTo>
                  <a:pt x="681" y="715"/>
                </a:lnTo>
                <a:lnTo>
                  <a:pt x="674" y="701"/>
                </a:lnTo>
                <a:lnTo>
                  <a:pt x="669" y="677"/>
                </a:lnTo>
                <a:lnTo>
                  <a:pt x="674" y="663"/>
                </a:lnTo>
                <a:lnTo>
                  <a:pt x="681" y="663"/>
                </a:lnTo>
                <a:lnTo>
                  <a:pt x="681" y="653"/>
                </a:lnTo>
                <a:lnTo>
                  <a:pt x="690" y="646"/>
                </a:lnTo>
                <a:lnTo>
                  <a:pt x="681" y="646"/>
                </a:lnTo>
                <a:lnTo>
                  <a:pt x="690" y="637"/>
                </a:lnTo>
                <a:lnTo>
                  <a:pt x="698" y="630"/>
                </a:lnTo>
                <a:lnTo>
                  <a:pt x="707" y="630"/>
                </a:lnTo>
                <a:lnTo>
                  <a:pt x="716" y="630"/>
                </a:lnTo>
                <a:lnTo>
                  <a:pt x="716" y="637"/>
                </a:lnTo>
                <a:lnTo>
                  <a:pt x="733" y="646"/>
                </a:lnTo>
                <a:lnTo>
                  <a:pt x="742" y="646"/>
                </a:lnTo>
                <a:lnTo>
                  <a:pt x="750" y="646"/>
                </a:lnTo>
                <a:lnTo>
                  <a:pt x="759" y="646"/>
                </a:lnTo>
                <a:lnTo>
                  <a:pt x="768" y="646"/>
                </a:lnTo>
                <a:lnTo>
                  <a:pt x="768" y="653"/>
                </a:lnTo>
                <a:lnTo>
                  <a:pt x="768" y="663"/>
                </a:lnTo>
                <a:lnTo>
                  <a:pt x="776" y="672"/>
                </a:lnTo>
                <a:lnTo>
                  <a:pt x="776" y="682"/>
                </a:lnTo>
                <a:lnTo>
                  <a:pt x="785" y="689"/>
                </a:lnTo>
                <a:lnTo>
                  <a:pt x="792" y="689"/>
                </a:lnTo>
                <a:lnTo>
                  <a:pt x="802" y="689"/>
                </a:lnTo>
                <a:lnTo>
                  <a:pt x="811" y="682"/>
                </a:lnTo>
                <a:lnTo>
                  <a:pt x="811" y="663"/>
                </a:lnTo>
                <a:lnTo>
                  <a:pt x="811" y="646"/>
                </a:lnTo>
                <a:lnTo>
                  <a:pt x="811" y="637"/>
                </a:lnTo>
                <a:lnTo>
                  <a:pt x="792" y="630"/>
                </a:lnTo>
                <a:lnTo>
                  <a:pt x="785" y="613"/>
                </a:lnTo>
                <a:lnTo>
                  <a:pt x="776" y="604"/>
                </a:lnTo>
                <a:lnTo>
                  <a:pt x="759" y="594"/>
                </a:lnTo>
                <a:lnTo>
                  <a:pt x="742" y="594"/>
                </a:lnTo>
                <a:lnTo>
                  <a:pt x="733" y="587"/>
                </a:lnTo>
                <a:lnTo>
                  <a:pt x="726" y="578"/>
                </a:lnTo>
                <a:lnTo>
                  <a:pt x="698" y="568"/>
                </a:lnTo>
                <a:lnTo>
                  <a:pt x="690" y="561"/>
                </a:lnTo>
                <a:lnTo>
                  <a:pt x="681" y="551"/>
                </a:lnTo>
                <a:lnTo>
                  <a:pt x="674" y="551"/>
                </a:lnTo>
                <a:lnTo>
                  <a:pt x="655" y="551"/>
                </a:lnTo>
                <a:lnTo>
                  <a:pt x="648" y="544"/>
                </a:lnTo>
                <a:lnTo>
                  <a:pt x="629" y="535"/>
                </a:lnTo>
                <a:lnTo>
                  <a:pt x="619" y="535"/>
                </a:lnTo>
                <a:lnTo>
                  <a:pt x="629" y="525"/>
                </a:lnTo>
                <a:lnTo>
                  <a:pt x="638" y="525"/>
                </a:lnTo>
                <a:lnTo>
                  <a:pt x="648" y="518"/>
                </a:lnTo>
                <a:lnTo>
                  <a:pt x="648" y="499"/>
                </a:lnTo>
                <a:lnTo>
                  <a:pt x="619" y="492"/>
                </a:lnTo>
                <a:lnTo>
                  <a:pt x="612" y="492"/>
                </a:lnTo>
                <a:lnTo>
                  <a:pt x="586" y="492"/>
                </a:lnTo>
                <a:lnTo>
                  <a:pt x="570" y="492"/>
                </a:lnTo>
                <a:lnTo>
                  <a:pt x="553" y="483"/>
                </a:lnTo>
                <a:lnTo>
                  <a:pt x="544" y="466"/>
                </a:lnTo>
                <a:lnTo>
                  <a:pt x="534" y="457"/>
                </a:lnTo>
                <a:lnTo>
                  <a:pt x="518" y="440"/>
                </a:lnTo>
                <a:lnTo>
                  <a:pt x="508" y="424"/>
                </a:lnTo>
                <a:lnTo>
                  <a:pt x="492" y="405"/>
                </a:lnTo>
                <a:lnTo>
                  <a:pt x="492" y="388"/>
                </a:lnTo>
                <a:lnTo>
                  <a:pt x="501" y="379"/>
                </a:lnTo>
                <a:lnTo>
                  <a:pt x="492" y="362"/>
                </a:lnTo>
                <a:lnTo>
                  <a:pt x="482" y="346"/>
                </a:lnTo>
                <a:lnTo>
                  <a:pt x="482" y="336"/>
                </a:lnTo>
                <a:lnTo>
                  <a:pt x="475" y="327"/>
                </a:lnTo>
                <a:lnTo>
                  <a:pt x="475" y="310"/>
                </a:lnTo>
                <a:lnTo>
                  <a:pt x="466" y="310"/>
                </a:lnTo>
                <a:lnTo>
                  <a:pt x="449" y="303"/>
                </a:lnTo>
                <a:lnTo>
                  <a:pt x="430" y="293"/>
                </a:lnTo>
                <a:lnTo>
                  <a:pt x="423" y="293"/>
                </a:lnTo>
                <a:lnTo>
                  <a:pt x="404" y="284"/>
                </a:lnTo>
                <a:lnTo>
                  <a:pt x="404" y="277"/>
                </a:lnTo>
                <a:lnTo>
                  <a:pt x="397" y="267"/>
                </a:lnTo>
                <a:lnTo>
                  <a:pt x="397" y="258"/>
                </a:lnTo>
                <a:lnTo>
                  <a:pt x="388" y="241"/>
                </a:lnTo>
                <a:lnTo>
                  <a:pt x="397" y="234"/>
                </a:lnTo>
                <a:lnTo>
                  <a:pt x="397" y="225"/>
                </a:lnTo>
                <a:lnTo>
                  <a:pt x="397" y="215"/>
                </a:lnTo>
                <a:lnTo>
                  <a:pt x="404" y="208"/>
                </a:lnTo>
                <a:lnTo>
                  <a:pt x="414" y="199"/>
                </a:lnTo>
                <a:lnTo>
                  <a:pt x="414" y="189"/>
                </a:lnTo>
                <a:lnTo>
                  <a:pt x="404" y="189"/>
                </a:lnTo>
                <a:lnTo>
                  <a:pt x="397" y="182"/>
                </a:lnTo>
                <a:lnTo>
                  <a:pt x="397" y="173"/>
                </a:lnTo>
                <a:lnTo>
                  <a:pt x="388" y="173"/>
                </a:lnTo>
                <a:lnTo>
                  <a:pt x="397" y="163"/>
                </a:lnTo>
                <a:lnTo>
                  <a:pt x="404" y="163"/>
                </a:lnTo>
                <a:lnTo>
                  <a:pt x="404" y="147"/>
                </a:lnTo>
                <a:lnTo>
                  <a:pt x="423" y="147"/>
                </a:lnTo>
                <a:lnTo>
                  <a:pt x="430" y="147"/>
                </a:lnTo>
                <a:lnTo>
                  <a:pt x="440" y="147"/>
                </a:lnTo>
                <a:lnTo>
                  <a:pt x="449" y="147"/>
                </a:lnTo>
                <a:lnTo>
                  <a:pt x="456" y="140"/>
                </a:lnTo>
                <a:lnTo>
                  <a:pt x="466" y="140"/>
                </a:lnTo>
                <a:lnTo>
                  <a:pt x="466" y="130"/>
                </a:lnTo>
                <a:lnTo>
                  <a:pt x="475" y="130"/>
                </a:lnTo>
                <a:lnTo>
                  <a:pt x="482" y="130"/>
                </a:lnTo>
                <a:lnTo>
                  <a:pt x="482" y="140"/>
                </a:lnTo>
                <a:lnTo>
                  <a:pt x="492" y="147"/>
                </a:lnTo>
                <a:lnTo>
                  <a:pt x="492" y="130"/>
                </a:lnTo>
                <a:lnTo>
                  <a:pt x="501" y="130"/>
                </a:lnTo>
                <a:lnTo>
                  <a:pt x="508" y="121"/>
                </a:lnTo>
                <a:lnTo>
                  <a:pt x="501" y="114"/>
                </a:lnTo>
                <a:lnTo>
                  <a:pt x="492" y="104"/>
                </a:lnTo>
                <a:lnTo>
                  <a:pt x="508" y="95"/>
                </a:lnTo>
                <a:lnTo>
                  <a:pt x="508" y="88"/>
                </a:lnTo>
                <a:lnTo>
                  <a:pt x="501" y="78"/>
                </a:lnTo>
                <a:lnTo>
                  <a:pt x="501" y="71"/>
                </a:lnTo>
                <a:lnTo>
                  <a:pt x="501" y="62"/>
                </a:lnTo>
                <a:lnTo>
                  <a:pt x="492" y="62"/>
                </a:lnTo>
                <a:lnTo>
                  <a:pt x="482" y="52"/>
                </a:lnTo>
                <a:lnTo>
                  <a:pt x="466" y="52"/>
                </a:lnTo>
                <a:lnTo>
                  <a:pt x="456" y="52"/>
                </a:lnTo>
                <a:lnTo>
                  <a:pt x="449" y="52"/>
                </a:lnTo>
                <a:lnTo>
                  <a:pt x="440" y="52"/>
                </a:lnTo>
                <a:lnTo>
                  <a:pt x="430" y="45"/>
                </a:lnTo>
                <a:lnTo>
                  <a:pt x="423" y="35"/>
                </a:lnTo>
                <a:lnTo>
                  <a:pt x="423" y="26"/>
                </a:lnTo>
                <a:lnTo>
                  <a:pt x="414" y="19"/>
                </a:lnTo>
                <a:lnTo>
                  <a:pt x="404" y="9"/>
                </a:lnTo>
                <a:lnTo>
                  <a:pt x="388" y="9"/>
                </a:lnTo>
                <a:lnTo>
                  <a:pt x="378" y="9"/>
                </a:lnTo>
                <a:lnTo>
                  <a:pt x="371" y="9"/>
                </a:lnTo>
                <a:lnTo>
                  <a:pt x="362" y="9"/>
                </a:lnTo>
                <a:lnTo>
                  <a:pt x="352" y="0"/>
                </a:lnTo>
                <a:lnTo>
                  <a:pt x="345" y="0"/>
                </a:lnTo>
                <a:lnTo>
                  <a:pt x="345" y="9"/>
                </a:lnTo>
                <a:lnTo>
                  <a:pt x="328" y="19"/>
                </a:lnTo>
                <a:lnTo>
                  <a:pt x="319" y="19"/>
                </a:lnTo>
                <a:lnTo>
                  <a:pt x="310" y="19"/>
                </a:lnTo>
                <a:lnTo>
                  <a:pt x="310" y="9"/>
                </a:lnTo>
                <a:lnTo>
                  <a:pt x="310" y="0"/>
                </a:lnTo>
                <a:lnTo>
                  <a:pt x="302" y="0"/>
                </a:lnTo>
                <a:lnTo>
                  <a:pt x="293" y="0"/>
                </a:lnTo>
                <a:lnTo>
                  <a:pt x="293" y="9"/>
                </a:lnTo>
                <a:lnTo>
                  <a:pt x="293" y="19"/>
                </a:lnTo>
                <a:lnTo>
                  <a:pt x="293" y="26"/>
                </a:lnTo>
                <a:lnTo>
                  <a:pt x="284" y="26"/>
                </a:lnTo>
                <a:lnTo>
                  <a:pt x="276" y="19"/>
                </a:lnTo>
                <a:lnTo>
                  <a:pt x="267" y="26"/>
                </a:lnTo>
                <a:lnTo>
                  <a:pt x="258" y="35"/>
                </a:lnTo>
                <a:lnTo>
                  <a:pt x="267" y="45"/>
                </a:lnTo>
                <a:lnTo>
                  <a:pt x="258" y="52"/>
                </a:lnTo>
                <a:lnTo>
                  <a:pt x="250" y="45"/>
                </a:lnTo>
                <a:lnTo>
                  <a:pt x="241" y="45"/>
                </a:lnTo>
                <a:lnTo>
                  <a:pt x="231" y="45"/>
                </a:lnTo>
                <a:lnTo>
                  <a:pt x="224" y="45"/>
                </a:lnTo>
                <a:lnTo>
                  <a:pt x="224" y="35"/>
                </a:lnTo>
                <a:lnTo>
                  <a:pt x="215" y="26"/>
                </a:lnTo>
                <a:lnTo>
                  <a:pt x="205" y="26"/>
                </a:lnTo>
                <a:lnTo>
                  <a:pt x="205" y="35"/>
                </a:lnTo>
                <a:lnTo>
                  <a:pt x="205" y="52"/>
                </a:lnTo>
                <a:lnTo>
                  <a:pt x="198" y="52"/>
                </a:lnTo>
                <a:lnTo>
                  <a:pt x="189" y="62"/>
                </a:lnTo>
                <a:lnTo>
                  <a:pt x="179" y="71"/>
                </a:lnTo>
                <a:lnTo>
                  <a:pt x="179" y="78"/>
                </a:lnTo>
                <a:lnTo>
                  <a:pt x="172" y="71"/>
                </a:lnTo>
                <a:lnTo>
                  <a:pt x="163" y="62"/>
                </a:lnTo>
                <a:lnTo>
                  <a:pt x="156" y="52"/>
                </a:lnTo>
                <a:lnTo>
                  <a:pt x="156" y="45"/>
                </a:lnTo>
                <a:lnTo>
                  <a:pt x="156" y="35"/>
                </a:lnTo>
                <a:lnTo>
                  <a:pt x="146" y="26"/>
                </a:lnTo>
                <a:lnTo>
                  <a:pt x="137" y="26"/>
                </a:lnTo>
                <a:lnTo>
                  <a:pt x="127" y="35"/>
                </a:lnTo>
                <a:lnTo>
                  <a:pt x="127" y="45"/>
                </a:lnTo>
                <a:lnTo>
                  <a:pt x="120" y="62"/>
                </a:lnTo>
                <a:lnTo>
                  <a:pt x="111" y="62"/>
                </a:lnTo>
                <a:lnTo>
                  <a:pt x="94" y="62"/>
                </a:lnTo>
                <a:lnTo>
                  <a:pt x="85" y="52"/>
                </a:lnTo>
                <a:lnTo>
                  <a:pt x="52" y="62"/>
                </a:lnTo>
                <a:lnTo>
                  <a:pt x="42" y="62"/>
                </a:lnTo>
                <a:lnTo>
                  <a:pt x="42" y="71"/>
                </a:lnTo>
                <a:lnTo>
                  <a:pt x="33" y="71"/>
                </a:lnTo>
                <a:lnTo>
                  <a:pt x="33" y="78"/>
                </a:lnTo>
                <a:lnTo>
                  <a:pt x="42" y="88"/>
                </a:lnTo>
                <a:lnTo>
                  <a:pt x="42" y="95"/>
                </a:lnTo>
                <a:lnTo>
                  <a:pt x="52" y="104"/>
                </a:lnTo>
                <a:lnTo>
                  <a:pt x="42" y="114"/>
                </a:lnTo>
                <a:lnTo>
                  <a:pt x="33" y="121"/>
                </a:lnTo>
                <a:lnTo>
                  <a:pt x="26" y="130"/>
                </a:lnTo>
                <a:lnTo>
                  <a:pt x="16" y="130"/>
                </a:lnTo>
                <a:lnTo>
                  <a:pt x="7" y="130"/>
                </a:lnTo>
                <a:lnTo>
                  <a:pt x="0" y="130"/>
                </a:lnTo>
                <a:lnTo>
                  <a:pt x="0" y="140"/>
                </a:lnTo>
                <a:lnTo>
                  <a:pt x="7" y="147"/>
                </a:lnTo>
                <a:lnTo>
                  <a:pt x="16" y="147"/>
                </a:lnTo>
                <a:lnTo>
                  <a:pt x="26" y="156"/>
                </a:lnTo>
                <a:lnTo>
                  <a:pt x="26" y="163"/>
                </a:lnTo>
                <a:lnTo>
                  <a:pt x="26" y="173"/>
                </a:lnTo>
                <a:lnTo>
                  <a:pt x="16" y="182"/>
                </a:lnTo>
                <a:lnTo>
                  <a:pt x="16" y="189"/>
                </a:lnTo>
                <a:lnTo>
                  <a:pt x="16" y="208"/>
                </a:lnTo>
                <a:lnTo>
                  <a:pt x="16" y="215"/>
                </a:lnTo>
                <a:lnTo>
                  <a:pt x="26" y="234"/>
                </a:lnTo>
                <a:lnTo>
                  <a:pt x="33" y="234"/>
                </a:lnTo>
                <a:lnTo>
                  <a:pt x="52" y="234"/>
                </a:lnTo>
                <a:lnTo>
                  <a:pt x="59" y="241"/>
                </a:lnTo>
                <a:lnTo>
                  <a:pt x="52" y="251"/>
                </a:lnTo>
                <a:lnTo>
                  <a:pt x="52" y="258"/>
                </a:lnTo>
                <a:lnTo>
                  <a:pt x="42" y="267"/>
                </a:lnTo>
                <a:lnTo>
                  <a:pt x="33" y="2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4" name="Freeform 522">
            <a:extLst>
              <a:ext uri="{FF2B5EF4-FFF2-40B4-BE49-F238E27FC236}">
                <a16:creationId xmlns:a16="http://schemas.microsoft.com/office/drawing/2014/main" id="{FF28DF6A-55A0-44B2-B1C0-CDE9076D056A}"/>
              </a:ext>
            </a:extLst>
          </p:cNvPr>
          <p:cNvSpPr>
            <a:spLocks/>
          </p:cNvSpPr>
          <p:nvPr/>
        </p:nvSpPr>
        <p:spPr bwMode="auto">
          <a:xfrm>
            <a:off x="1450525" y="2952316"/>
            <a:ext cx="275198" cy="145169"/>
          </a:xfrm>
          <a:custGeom>
            <a:avLst/>
            <a:gdLst>
              <a:gd name="T0" fmla="*/ 42 w 309"/>
              <a:gd name="T1" fmla="*/ 128 h 163"/>
              <a:gd name="T2" fmla="*/ 52 w 309"/>
              <a:gd name="T3" fmla="*/ 121 h 163"/>
              <a:gd name="T4" fmla="*/ 42 w 309"/>
              <a:gd name="T5" fmla="*/ 104 h 163"/>
              <a:gd name="T6" fmla="*/ 59 w 309"/>
              <a:gd name="T7" fmla="*/ 104 h 163"/>
              <a:gd name="T8" fmla="*/ 52 w 309"/>
              <a:gd name="T9" fmla="*/ 78 h 163"/>
              <a:gd name="T10" fmla="*/ 42 w 309"/>
              <a:gd name="T11" fmla="*/ 85 h 163"/>
              <a:gd name="T12" fmla="*/ 26 w 309"/>
              <a:gd name="T13" fmla="*/ 104 h 163"/>
              <a:gd name="T14" fmla="*/ 0 w 309"/>
              <a:gd name="T15" fmla="*/ 95 h 163"/>
              <a:gd name="T16" fmla="*/ 26 w 309"/>
              <a:gd name="T17" fmla="*/ 59 h 163"/>
              <a:gd name="T18" fmla="*/ 33 w 309"/>
              <a:gd name="T19" fmla="*/ 43 h 163"/>
              <a:gd name="T20" fmla="*/ 68 w 309"/>
              <a:gd name="T21" fmla="*/ 33 h 163"/>
              <a:gd name="T22" fmla="*/ 75 w 309"/>
              <a:gd name="T23" fmla="*/ 10 h 163"/>
              <a:gd name="T24" fmla="*/ 94 w 309"/>
              <a:gd name="T25" fmla="*/ 10 h 163"/>
              <a:gd name="T26" fmla="*/ 111 w 309"/>
              <a:gd name="T27" fmla="*/ 0 h 163"/>
              <a:gd name="T28" fmla="*/ 120 w 309"/>
              <a:gd name="T29" fmla="*/ 0 h 163"/>
              <a:gd name="T30" fmla="*/ 127 w 309"/>
              <a:gd name="T31" fmla="*/ 0 h 163"/>
              <a:gd name="T32" fmla="*/ 156 w 309"/>
              <a:gd name="T33" fmla="*/ 10 h 163"/>
              <a:gd name="T34" fmla="*/ 172 w 309"/>
              <a:gd name="T35" fmla="*/ 10 h 163"/>
              <a:gd name="T36" fmla="*/ 189 w 309"/>
              <a:gd name="T37" fmla="*/ 10 h 163"/>
              <a:gd name="T38" fmla="*/ 215 w 309"/>
              <a:gd name="T39" fmla="*/ 10 h 163"/>
              <a:gd name="T40" fmla="*/ 224 w 309"/>
              <a:gd name="T41" fmla="*/ 17 h 163"/>
              <a:gd name="T42" fmla="*/ 231 w 309"/>
              <a:gd name="T43" fmla="*/ 26 h 163"/>
              <a:gd name="T44" fmla="*/ 250 w 309"/>
              <a:gd name="T45" fmla="*/ 43 h 163"/>
              <a:gd name="T46" fmla="*/ 241 w 309"/>
              <a:gd name="T47" fmla="*/ 59 h 163"/>
              <a:gd name="T48" fmla="*/ 250 w 309"/>
              <a:gd name="T49" fmla="*/ 69 h 163"/>
              <a:gd name="T50" fmla="*/ 267 w 309"/>
              <a:gd name="T51" fmla="*/ 78 h 163"/>
              <a:gd name="T52" fmla="*/ 309 w 309"/>
              <a:gd name="T53" fmla="*/ 85 h 163"/>
              <a:gd name="T54" fmla="*/ 302 w 309"/>
              <a:gd name="T55" fmla="*/ 95 h 163"/>
              <a:gd name="T56" fmla="*/ 302 w 309"/>
              <a:gd name="T57" fmla="*/ 111 h 163"/>
              <a:gd name="T58" fmla="*/ 283 w 309"/>
              <a:gd name="T59" fmla="*/ 104 h 163"/>
              <a:gd name="T60" fmla="*/ 267 w 309"/>
              <a:gd name="T61" fmla="*/ 121 h 163"/>
              <a:gd name="T62" fmla="*/ 267 w 309"/>
              <a:gd name="T63" fmla="*/ 137 h 163"/>
              <a:gd name="T64" fmla="*/ 250 w 309"/>
              <a:gd name="T65" fmla="*/ 128 h 163"/>
              <a:gd name="T66" fmla="*/ 231 w 309"/>
              <a:gd name="T67" fmla="*/ 128 h 163"/>
              <a:gd name="T68" fmla="*/ 224 w 309"/>
              <a:gd name="T69" fmla="*/ 111 h 163"/>
              <a:gd name="T70" fmla="*/ 215 w 309"/>
              <a:gd name="T71" fmla="*/ 121 h 163"/>
              <a:gd name="T72" fmla="*/ 205 w 309"/>
              <a:gd name="T73" fmla="*/ 137 h 163"/>
              <a:gd name="T74" fmla="*/ 189 w 309"/>
              <a:gd name="T75" fmla="*/ 154 h 163"/>
              <a:gd name="T76" fmla="*/ 179 w 309"/>
              <a:gd name="T77" fmla="*/ 154 h 163"/>
              <a:gd name="T78" fmla="*/ 163 w 309"/>
              <a:gd name="T79" fmla="*/ 137 h 163"/>
              <a:gd name="T80" fmla="*/ 163 w 309"/>
              <a:gd name="T81" fmla="*/ 121 h 163"/>
              <a:gd name="T82" fmla="*/ 146 w 309"/>
              <a:gd name="T83" fmla="*/ 111 h 163"/>
              <a:gd name="T84" fmla="*/ 137 w 309"/>
              <a:gd name="T85" fmla="*/ 128 h 163"/>
              <a:gd name="T86" fmla="*/ 120 w 309"/>
              <a:gd name="T87" fmla="*/ 147 h 163"/>
              <a:gd name="T88" fmla="*/ 94 w 309"/>
              <a:gd name="T89" fmla="*/ 137 h 163"/>
              <a:gd name="T90" fmla="*/ 52 w 309"/>
              <a:gd name="T91" fmla="*/ 137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09" h="163">
                <a:moveTo>
                  <a:pt x="52" y="137"/>
                </a:moveTo>
                <a:lnTo>
                  <a:pt x="42" y="128"/>
                </a:lnTo>
                <a:lnTo>
                  <a:pt x="42" y="121"/>
                </a:lnTo>
                <a:lnTo>
                  <a:pt x="52" y="121"/>
                </a:lnTo>
                <a:lnTo>
                  <a:pt x="42" y="111"/>
                </a:lnTo>
                <a:lnTo>
                  <a:pt x="42" y="104"/>
                </a:lnTo>
                <a:lnTo>
                  <a:pt x="52" y="104"/>
                </a:lnTo>
                <a:lnTo>
                  <a:pt x="59" y="104"/>
                </a:lnTo>
                <a:lnTo>
                  <a:pt x="59" y="95"/>
                </a:lnTo>
                <a:lnTo>
                  <a:pt x="52" y="78"/>
                </a:lnTo>
                <a:lnTo>
                  <a:pt x="42" y="78"/>
                </a:lnTo>
                <a:lnTo>
                  <a:pt x="42" y="85"/>
                </a:lnTo>
                <a:lnTo>
                  <a:pt x="33" y="85"/>
                </a:lnTo>
                <a:lnTo>
                  <a:pt x="26" y="104"/>
                </a:lnTo>
                <a:lnTo>
                  <a:pt x="7" y="111"/>
                </a:lnTo>
                <a:lnTo>
                  <a:pt x="0" y="95"/>
                </a:lnTo>
                <a:lnTo>
                  <a:pt x="7" y="78"/>
                </a:lnTo>
                <a:lnTo>
                  <a:pt x="26" y="59"/>
                </a:lnTo>
                <a:lnTo>
                  <a:pt x="26" y="52"/>
                </a:lnTo>
                <a:lnTo>
                  <a:pt x="33" y="43"/>
                </a:lnTo>
                <a:lnTo>
                  <a:pt x="52" y="43"/>
                </a:lnTo>
                <a:lnTo>
                  <a:pt x="68" y="33"/>
                </a:lnTo>
                <a:lnTo>
                  <a:pt x="75" y="17"/>
                </a:lnTo>
                <a:lnTo>
                  <a:pt x="75" y="10"/>
                </a:lnTo>
                <a:lnTo>
                  <a:pt x="85" y="0"/>
                </a:lnTo>
                <a:lnTo>
                  <a:pt x="94" y="10"/>
                </a:lnTo>
                <a:lnTo>
                  <a:pt x="104" y="17"/>
                </a:lnTo>
                <a:lnTo>
                  <a:pt x="111" y="0"/>
                </a:lnTo>
                <a:lnTo>
                  <a:pt x="120" y="10"/>
                </a:lnTo>
                <a:lnTo>
                  <a:pt x="120" y="0"/>
                </a:lnTo>
                <a:lnTo>
                  <a:pt x="127" y="10"/>
                </a:lnTo>
                <a:lnTo>
                  <a:pt x="127" y="0"/>
                </a:lnTo>
                <a:lnTo>
                  <a:pt x="146" y="10"/>
                </a:lnTo>
                <a:lnTo>
                  <a:pt x="156" y="10"/>
                </a:lnTo>
                <a:lnTo>
                  <a:pt x="163" y="10"/>
                </a:lnTo>
                <a:lnTo>
                  <a:pt x="172" y="10"/>
                </a:lnTo>
                <a:lnTo>
                  <a:pt x="179" y="10"/>
                </a:lnTo>
                <a:lnTo>
                  <a:pt x="189" y="10"/>
                </a:lnTo>
                <a:lnTo>
                  <a:pt x="198" y="10"/>
                </a:lnTo>
                <a:lnTo>
                  <a:pt x="215" y="10"/>
                </a:lnTo>
                <a:lnTo>
                  <a:pt x="215" y="17"/>
                </a:lnTo>
                <a:lnTo>
                  <a:pt x="224" y="17"/>
                </a:lnTo>
                <a:lnTo>
                  <a:pt x="231" y="17"/>
                </a:lnTo>
                <a:lnTo>
                  <a:pt x="231" y="26"/>
                </a:lnTo>
                <a:lnTo>
                  <a:pt x="250" y="33"/>
                </a:lnTo>
                <a:lnTo>
                  <a:pt x="250" y="43"/>
                </a:lnTo>
                <a:lnTo>
                  <a:pt x="241" y="52"/>
                </a:lnTo>
                <a:lnTo>
                  <a:pt x="241" y="59"/>
                </a:lnTo>
                <a:lnTo>
                  <a:pt x="250" y="59"/>
                </a:lnTo>
                <a:lnTo>
                  <a:pt x="250" y="69"/>
                </a:lnTo>
                <a:lnTo>
                  <a:pt x="257" y="69"/>
                </a:lnTo>
                <a:lnTo>
                  <a:pt x="267" y="78"/>
                </a:lnTo>
                <a:lnTo>
                  <a:pt x="276" y="85"/>
                </a:lnTo>
                <a:lnTo>
                  <a:pt x="309" y="85"/>
                </a:lnTo>
                <a:lnTo>
                  <a:pt x="302" y="85"/>
                </a:lnTo>
                <a:lnTo>
                  <a:pt x="302" y="95"/>
                </a:lnTo>
                <a:lnTo>
                  <a:pt x="302" y="104"/>
                </a:lnTo>
                <a:lnTo>
                  <a:pt x="302" y="111"/>
                </a:lnTo>
                <a:lnTo>
                  <a:pt x="293" y="111"/>
                </a:lnTo>
                <a:lnTo>
                  <a:pt x="283" y="104"/>
                </a:lnTo>
                <a:lnTo>
                  <a:pt x="276" y="111"/>
                </a:lnTo>
                <a:lnTo>
                  <a:pt x="267" y="121"/>
                </a:lnTo>
                <a:lnTo>
                  <a:pt x="276" y="128"/>
                </a:lnTo>
                <a:lnTo>
                  <a:pt x="267" y="137"/>
                </a:lnTo>
                <a:lnTo>
                  <a:pt x="257" y="128"/>
                </a:lnTo>
                <a:lnTo>
                  <a:pt x="250" y="128"/>
                </a:lnTo>
                <a:lnTo>
                  <a:pt x="241" y="128"/>
                </a:lnTo>
                <a:lnTo>
                  <a:pt x="231" y="128"/>
                </a:lnTo>
                <a:lnTo>
                  <a:pt x="231" y="121"/>
                </a:lnTo>
                <a:lnTo>
                  <a:pt x="224" y="111"/>
                </a:lnTo>
                <a:lnTo>
                  <a:pt x="215" y="111"/>
                </a:lnTo>
                <a:lnTo>
                  <a:pt x="215" y="121"/>
                </a:lnTo>
                <a:lnTo>
                  <a:pt x="215" y="137"/>
                </a:lnTo>
                <a:lnTo>
                  <a:pt x="205" y="137"/>
                </a:lnTo>
                <a:lnTo>
                  <a:pt x="198" y="147"/>
                </a:lnTo>
                <a:lnTo>
                  <a:pt x="189" y="154"/>
                </a:lnTo>
                <a:lnTo>
                  <a:pt x="189" y="163"/>
                </a:lnTo>
                <a:lnTo>
                  <a:pt x="179" y="154"/>
                </a:lnTo>
                <a:lnTo>
                  <a:pt x="172" y="147"/>
                </a:lnTo>
                <a:lnTo>
                  <a:pt x="163" y="137"/>
                </a:lnTo>
                <a:lnTo>
                  <a:pt x="163" y="128"/>
                </a:lnTo>
                <a:lnTo>
                  <a:pt x="163" y="121"/>
                </a:lnTo>
                <a:lnTo>
                  <a:pt x="156" y="111"/>
                </a:lnTo>
                <a:lnTo>
                  <a:pt x="146" y="111"/>
                </a:lnTo>
                <a:lnTo>
                  <a:pt x="137" y="121"/>
                </a:lnTo>
                <a:lnTo>
                  <a:pt x="137" y="128"/>
                </a:lnTo>
                <a:lnTo>
                  <a:pt x="127" y="147"/>
                </a:lnTo>
                <a:lnTo>
                  <a:pt x="120" y="147"/>
                </a:lnTo>
                <a:lnTo>
                  <a:pt x="104" y="147"/>
                </a:lnTo>
                <a:lnTo>
                  <a:pt x="94" y="137"/>
                </a:lnTo>
                <a:lnTo>
                  <a:pt x="59" y="147"/>
                </a:lnTo>
                <a:lnTo>
                  <a:pt x="52" y="13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5" name="Freeform 523">
            <a:extLst>
              <a:ext uri="{FF2B5EF4-FFF2-40B4-BE49-F238E27FC236}">
                <a16:creationId xmlns:a16="http://schemas.microsoft.com/office/drawing/2014/main" id="{F0F6CF76-9D79-48B0-9102-6238439C5016}"/>
              </a:ext>
            </a:extLst>
          </p:cNvPr>
          <p:cNvSpPr>
            <a:spLocks/>
          </p:cNvSpPr>
          <p:nvPr/>
        </p:nvSpPr>
        <p:spPr bwMode="auto">
          <a:xfrm>
            <a:off x="1665165" y="2889079"/>
            <a:ext cx="444412" cy="206621"/>
          </a:xfrm>
          <a:custGeom>
            <a:avLst/>
            <a:gdLst>
              <a:gd name="T0" fmla="*/ 433 w 499"/>
              <a:gd name="T1" fmla="*/ 206 h 232"/>
              <a:gd name="T2" fmla="*/ 423 w 499"/>
              <a:gd name="T3" fmla="*/ 206 h 232"/>
              <a:gd name="T4" fmla="*/ 397 w 499"/>
              <a:gd name="T5" fmla="*/ 206 h 232"/>
              <a:gd name="T6" fmla="*/ 371 w 499"/>
              <a:gd name="T7" fmla="*/ 206 h 232"/>
              <a:gd name="T8" fmla="*/ 355 w 499"/>
              <a:gd name="T9" fmla="*/ 225 h 232"/>
              <a:gd name="T10" fmla="*/ 329 w 499"/>
              <a:gd name="T11" fmla="*/ 232 h 232"/>
              <a:gd name="T12" fmla="*/ 303 w 499"/>
              <a:gd name="T13" fmla="*/ 225 h 232"/>
              <a:gd name="T14" fmla="*/ 284 w 499"/>
              <a:gd name="T15" fmla="*/ 225 h 232"/>
              <a:gd name="T16" fmla="*/ 251 w 499"/>
              <a:gd name="T17" fmla="*/ 206 h 232"/>
              <a:gd name="T18" fmla="*/ 215 w 499"/>
              <a:gd name="T19" fmla="*/ 206 h 232"/>
              <a:gd name="T20" fmla="*/ 189 w 499"/>
              <a:gd name="T21" fmla="*/ 189 h 232"/>
              <a:gd name="T22" fmla="*/ 173 w 499"/>
              <a:gd name="T23" fmla="*/ 166 h 232"/>
              <a:gd name="T24" fmla="*/ 137 w 499"/>
              <a:gd name="T25" fmla="*/ 166 h 232"/>
              <a:gd name="T26" fmla="*/ 111 w 499"/>
              <a:gd name="T27" fmla="*/ 156 h 232"/>
              <a:gd name="T28" fmla="*/ 85 w 499"/>
              <a:gd name="T29" fmla="*/ 173 h 232"/>
              <a:gd name="T30" fmla="*/ 78 w 499"/>
              <a:gd name="T31" fmla="*/ 156 h 232"/>
              <a:gd name="T32" fmla="*/ 26 w 499"/>
              <a:gd name="T33" fmla="*/ 147 h 232"/>
              <a:gd name="T34" fmla="*/ 7 w 499"/>
              <a:gd name="T35" fmla="*/ 130 h 232"/>
              <a:gd name="T36" fmla="*/ 7 w 499"/>
              <a:gd name="T37" fmla="*/ 114 h 232"/>
              <a:gd name="T38" fmla="*/ 26 w 499"/>
              <a:gd name="T39" fmla="*/ 95 h 232"/>
              <a:gd name="T40" fmla="*/ 52 w 499"/>
              <a:gd name="T41" fmla="*/ 114 h 232"/>
              <a:gd name="T42" fmla="*/ 78 w 499"/>
              <a:gd name="T43" fmla="*/ 114 h 232"/>
              <a:gd name="T44" fmla="*/ 102 w 499"/>
              <a:gd name="T45" fmla="*/ 114 h 232"/>
              <a:gd name="T46" fmla="*/ 130 w 499"/>
              <a:gd name="T47" fmla="*/ 104 h 232"/>
              <a:gd name="T48" fmla="*/ 156 w 499"/>
              <a:gd name="T49" fmla="*/ 114 h 232"/>
              <a:gd name="T50" fmla="*/ 189 w 499"/>
              <a:gd name="T51" fmla="*/ 104 h 232"/>
              <a:gd name="T52" fmla="*/ 206 w 499"/>
              <a:gd name="T53" fmla="*/ 104 h 232"/>
              <a:gd name="T54" fmla="*/ 232 w 499"/>
              <a:gd name="T55" fmla="*/ 121 h 232"/>
              <a:gd name="T56" fmla="*/ 241 w 499"/>
              <a:gd name="T57" fmla="*/ 130 h 232"/>
              <a:gd name="T58" fmla="*/ 251 w 499"/>
              <a:gd name="T59" fmla="*/ 114 h 232"/>
              <a:gd name="T60" fmla="*/ 241 w 499"/>
              <a:gd name="T61" fmla="*/ 88 h 232"/>
              <a:gd name="T62" fmla="*/ 232 w 499"/>
              <a:gd name="T63" fmla="*/ 52 h 232"/>
              <a:gd name="T64" fmla="*/ 274 w 499"/>
              <a:gd name="T65" fmla="*/ 36 h 232"/>
              <a:gd name="T66" fmla="*/ 293 w 499"/>
              <a:gd name="T67" fmla="*/ 26 h 232"/>
              <a:gd name="T68" fmla="*/ 310 w 499"/>
              <a:gd name="T69" fmla="*/ 19 h 232"/>
              <a:gd name="T70" fmla="*/ 355 w 499"/>
              <a:gd name="T71" fmla="*/ 26 h 232"/>
              <a:gd name="T72" fmla="*/ 362 w 499"/>
              <a:gd name="T73" fmla="*/ 0 h 232"/>
              <a:gd name="T74" fmla="*/ 397 w 499"/>
              <a:gd name="T75" fmla="*/ 0 h 232"/>
              <a:gd name="T76" fmla="*/ 423 w 499"/>
              <a:gd name="T77" fmla="*/ 10 h 232"/>
              <a:gd name="T78" fmla="*/ 456 w 499"/>
              <a:gd name="T79" fmla="*/ 19 h 232"/>
              <a:gd name="T80" fmla="*/ 473 w 499"/>
              <a:gd name="T81" fmla="*/ 36 h 232"/>
              <a:gd name="T82" fmla="*/ 499 w 499"/>
              <a:gd name="T83" fmla="*/ 45 h 232"/>
              <a:gd name="T84" fmla="*/ 492 w 499"/>
              <a:gd name="T85" fmla="*/ 69 h 232"/>
              <a:gd name="T86" fmla="*/ 492 w 499"/>
              <a:gd name="T87" fmla="*/ 114 h 232"/>
              <a:gd name="T88" fmla="*/ 482 w 499"/>
              <a:gd name="T89" fmla="*/ 114 h 232"/>
              <a:gd name="T90" fmla="*/ 466 w 499"/>
              <a:gd name="T91" fmla="*/ 121 h 232"/>
              <a:gd name="T92" fmla="*/ 473 w 499"/>
              <a:gd name="T93" fmla="*/ 147 h 232"/>
              <a:gd name="T94" fmla="*/ 456 w 499"/>
              <a:gd name="T95" fmla="*/ 182 h 232"/>
              <a:gd name="T96" fmla="*/ 440 w 499"/>
              <a:gd name="T97" fmla="*/ 206 h 2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99" h="232">
                <a:moveTo>
                  <a:pt x="440" y="199"/>
                </a:moveTo>
                <a:lnTo>
                  <a:pt x="440" y="206"/>
                </a:lnTo>
                <a:lnTo>
                  <a:pt x="433" y="206"/>
                </a:lnTo>
                <a:lnTo>
                  <a:pt x="433" y="216"/>
                </a:lnTo>
                <a:lnTo>
                  <a:pt x="423" y="216"/>
                </a:lnTo>
                <a:lnTo>
                  <a:pt x="423" y="206"/>
                </a:lnTo>
                <a:lnTo>
                  <a:pt x="414" y="206"/>
                </a:lnTo>
                <a:lnTo>
                  <a:pt x="404" y="206"/>
                </a:lnTo>
                <a:lnTo>
                  <a:pt x="397" y="206"/>
                </a:lnTo>
                <a:lnTo>
                  <a:pt x="388" y="206"/>
                </a:lnTo>
                <a:lnTo>
                  <a:pt x="378" y="206"/>
                </a:lnTo>
                <a:lnTo>
                  <a:pt x="371" y="206"/>
                </a:lnTo>
                <a:lnTo>
                  <a:pt x="362" y="206"/>
                </a:lnTo>
                <a:lnTo>
                  <a:pt x="362" y="216"/>
                </a:lnTo>
                <a:lnTo>
                  <a:pt x="355" y="225"/>
                </a:lnTo>
                <a:lnTo>
                  <a:pt x="345" y="225"/>
                </a:lnTo>
                <a:lnTo>
                  <a:pt x="336" y="225"/>
                </a:lnTo>
                <a:lnTo>
                  <a:pt x="329" y="232"/>
                </a:lnTo>
                <a:lnTo>
                  <a:pt x="319" y="232"/>
                </a:lnTo>
                <a:lnTo>
                  <a:pt x="310" y="225"/>
                </a:lnTo>
                <a:lnTo>
                  <a:pt x="303" y="225"/>
                </a:lnTo>
                <a:lnTo>
                  <a:pt x="293" y="225"/>
                </a:lnTo>
                <a:lnTo>
                  <a:pt x="284" y="216"/>
                </a:lnTo>
                <a:lnTo>
                  <a:pt x="284" y="225"/>
                </a:lnTo>
                <a:lnTo>
                  <a:pt x="267" y="216"/>
                </a:lnTo>
                <a:lnTo>
                  <a:pt x="258" y="216"/>
                </a:lnTo>
                <a:lnTo>
                  <a:pt x="251" y="206"/>
                </a:lnTo>
                <a:lnTo>
                  <a:pt x="232" y="206"/>
                </a:lnTo>
                <a:lnTo>
                  <a:pt x="225" y="206"/>
                </a:lnTo>
                <a:lnTo>
                  <a:pt x="215" y="206"/>
                </a:lnTo>
                <a:lnTo>
                  <a:pt x="206" y="206"/>
                </a:lnTo>
                <a:lnTo>
                  <a:pt x="199" y="199"/>
                </a:lnTo>
                <a:lnTo>
                  <a:pt x="189" y="189"/>
                </a:lnTo>
                <a:lnTo>
                  <a:pt x="189" y="182"/>
                </a:lnTo>
                <a:lnTo>
                  <a:pt x="180" y="173"/>
                </a:lnTo>
                <a:lnTo>
                  <a:pt x="173" y="166"/>
                </a:lnTo>
                <a:lnTo>
                  <a:pt x="156" y="166"/>
                </a:lnTo>
                <a:lnTo>
                  <a:pt x="147" y="166"/>
                </a:lnTo>
                <a:lnTo>
                  <a:pt x="137" y="166"/>
                </a:lnTo>
                <a:lnTo>
                  <a:pt x="130" y="166"/>
                </a:lnTo>
                <a:lnTo>
                  <a:pt x="120" y="156"/>
                </a:lnTo>
                <a:lnTo>
                  <a:pt x="111" y="156"/>
                </a:lnTo>
                <a:lnTo>
                  <a:pt x="111" y="166"/>
                </a:lnTo>
                <a:lnTo>
                  <a:pt x="94" y="173"/>
                </a:lnTo>
                <a:lnTo>
                  <a:pt x="85" y="173"/>
                </a:lnTo>
                <a:lnTo>
                  <a:pt x="78" y="173"/>
                </a:lnTo>
                <a:lnTo>
                  <a:pt x="78" y="166"/>
                </a:lnTo>
                <a:lnTo>
                  <a:pt x="78" y="156"/>
                </a:lnTo>
                <a:lnTo>
                  <a:pt x="68" y="156"/>
                </a:lnTo>
                <a:lnTo>
                  <a:pt x="33" y="156"/>
                </a:lnTo>
                <a:lnTo>
                  <a:pt x="26" y="147"/>
                </a:lnTo>
                <a:lnTo>
                  <a:pt x="16" y="140"/>
                </a:lnTo>
                <a:lnTo>
                  <a:pt x="7" y="140"/>
                </a:lnTo>
                <a:lnTo>
                  <a:pt x="7" y="130"/>
                </a:lnTo>
                <a:lnTo>
                  <a:pt x="0" y="130"/>
                </a:lnTo>
                <a:lnTo>
                  <a:pt x="0" y="121"/>
                </a:lnTo>
                <a:lnTo>
                  <a:pt x="7" y="114"/>
                </a:lnTo>
                <a:lnTo>
                  <a:pt x="7" y="104"/>
                </a:lnTo>
                <a:lnTo>
                  <a:pt x="16" y="95"/>
                </a:lnTo>
                <a:lnTo>
                  <a:pt x="26" y="95"/>
                </a:lnTo>
                <a:lnTo>
                  <a:pt x="33" y="104"/>
                </a:lnTo>
                <a:lnTo>
                  <a:pt x="42" y="114"/>
                </a:lnTo>
                <a:lnTo>
                  <a:pt x="52" y="114"/>
                </a:lnTo>
                <a:lnTo>
                  <a:pt x="59" y="121"/>
                </a:lnTo>
                <a:lnTo>
                  <a:pt x="68" y="114"/>
                </a:lnTo>
                <a:lnTo>
                  <a:pt x="78" y="114"/>
                </a:lnTo>
                <a:lnTo>
                  <a:pt x="85" y="95"/>
                </a:lnTo>
                <a:lnTo>
                  <a:pt x="102" y="104"/>
                </a:lnTo>
                <a:lnTo>
                  <a:pt x="102" y="114"/>
                </a:lnTo>
                <a:lnTo>
                  <a:pt x="111" y="114"/>
                </a:lnTo>
                <a:lnTo>
                  <a:pt x="120" y="114"/>
                </a:lnTo>
                <a:lnTo>
                  <a:pt x="130" y="104"/>
                </a:lnTo>
                <a:lnTo>
                  <a:pt x="137" y="114"/>
                </a:lnTo>
                <a:lnTo>
                  <a:pt x="147" y="114"/>
                </a:lnTo>
                <a:lnTo>
                  <a:pt x="156" y="114"/>
                </a:lnTo>
                <a:lnTo>
                  <a:pt x="163" y="104"/>
                </a:lnTo>
                <a:lnTo>
                  <a:pt x="173" y="104"/>
                </a:lnTo>
                <a:lnTo>
                  <a:pt x="189" y="104"/>
                </a:lnTo>
                <a:lnTo>
                  <a:pt x="199" y="104"/>
                </a:lnTo>
                <a:lnTo>
                  <a:pt x="206" y="114"/>
                </a:lnTo>
                <a:lnTo>
                  <a:pt x="206" y="104"/>
                </a:lnTo>
                <a:lnTo>
                  <a:pt x="215" y="104"/>
                </a:lnTo>
                <a:lnTo>
                  <a:pt x="232" y="114"/>
                </a:lnTo>
                <a:lnTo>
                  <a:pt x="232" y="121"/>
                </a:lnTo>
                <a:lnTo>
                  <a:pt x="232" y="130"/>
                </a:lnTo>
                <a:lnTo>
                  <a:pt x="241" y="140"/>
                </a:lnTo>
                <a:lnTo>
                  <a:pt x="241" y="130"/>
                </a:lnTo>
                <a:lnTo>
                  <a:pt x="251" y="130"/>
                </a:lnTo>
                <a:lnTo>
                  <a:pt x="251" y="121"/>
                </a:lnTo>
                <a:lnTo>
                  <a:pt x="251" y="114"/>
                </a:lnTo>
                <a:lnTo>
                  <a:pt x="241" y="104"/>
                </a:lnTo>
                <a:lnTo>
                  <a:pt x="241" y="95"/>
                </a:lnTo>
                <a:lnTo>
                  <a:pt x="241" y="88"/>
                </a:lnTo>
                <a:lnTo>
                  <a:pt x="232" y="78"/>
                </a:lnTo>
                <a:lnTo>
                  <a:pt x="232" y="69"/>
                </a:lnTo>
                <a:lnTo>
                  <a:pt x="232" y="52"/>
                </a:lnTo>
                <a:lnTo>
                  <a:pt x="258" y="52"/>
                </a:lnTo>
                <a:lnTo>
                  <a:pt x="267" y="45"/>
                </a:lnTo>
                <a:lnTo>
                  <a:pt x="274" y="36"/>
                </a:lnTo>
                <a:lnTo>
                  <a:pt x="274" y="26"/>
                </a:lnTo>
                <a:lnTo>
                  <a:pt x="284" y="26"/>
                </a:lnTo>
                <a:lnTo>
                  <a:pt x="293" y="26"/>
                </a:lnTo>
                <a:lnTo>
                  <a:pt x="303" y="26"/>
                </a:lnTo>
                <a:lnTo>
                  <a:pt x="303" y="19"/>
                </a:lnTo>
                <a:lnTo>
                  <a:pt x="310" y="19"/>
                </a:lnTo>
                <a:lnTo>
                  <a:pt x="319" y="26"/>
                </a:lnTo>
                <a:lnTo>
                  <a:pt x="336" y="26"/>
                </a:lnTo>
                <a:lnTo>
                  <a:pt x="355" y="26"/>
                </a:lnTo>
                <a:lnTo>
                  <a:pt x="362" y="19"/>
                </a:lnTo>
                <a:lnTo>
                  <a:pt x="362" y="10"/>
                </a:lnTo>
                <a:lnTo>
                  <a:pt x="362" y="0"/>
                </a:lnTo>
                <a:lnTo>
                  <a:pt x="371" y="0"/>
                </a:lnTo>
                <a:lnTo>
                  <a:pt x="388" y="0"/>
                </a:lnTo>
                <a:lnTo>
                  <a:pt x="397" y="0"/>
                </a:lnTo>
                <a:lnTo>
                  <a:pt x="404" y="0"/>
                </a:lnTo>
                <a:lnTo>
                  <a:pt x="414" y="10"/>
                </a:lnTo>
                <a:lnTo>
                  <a:pt x="423" y="10"/>
                </a:lnTo>
                <a:lnTo>
                  <a:pt x="440" y="10"/>
                </a:lnTo>
                <a:lnTo>
                  <a:pt x="449" y="19"/>
                </a:lnTo>
                <a:lnTo>
                  <a:pt x="456" y="19"/>
                </a:lnTo>
                <a:lnTo>
                  <a:pt x="456" y="26"/>
                </a:lnTo>
                <a:lnTo>
                  <a:pt x="466" y="36"/>
                </a:lnTo>
                <a:lnTo>
                  <a:pt x="473" y="36"/>
                </a:lnTo>
                <a:lnTo>
                  <a:pt x="482" y="36"/>
                </a:lnTo>
                <a:lnTo>
                  <a:pt x="492" y="36"/>
                </a:lnTo>
                <a:lnTo>
                  <a:pt x="499" y="45"/>
                </a:lnTo>
                <a:lnTo>
                  <a:pt x="492" y="52"/>
                </a:lnTo>
                <a:lnTo>
                  <a:pt x="499" y="69"/>
                </a:lnTo>
                <a:lnTo>
                  <a:pt x="492" y="69"/>
                </a:lnTo>
                <a:lnTo>
                  <a:pt x="499" y="88"/>
                </a:lnTo>
                <a:lnTo>
                  <a:pt x="499" y="104"/>
                </a:lnTo>
                <a:lnTo>
                  <a:pt x="492" y="114"/>
                </a:lnTo>
                <a:lnTo>
                  <a:pt x="492" y="121"/>
                </a:lnTo>
                <a:lnTo>
                  <a:pt x="482" y="121"/>
                </a:lnTo>
                <a:lnTo>
                  <a:pt x="482" y="114"/>
                </a:lnTo>
                <a:lnTo>
                  <a:pt x="473" y="114"/>
                </a:lnTo>
                <a:lnTo>
                  <a:pt x="466" y="114"/>
                </a:lnTo>
                <a:lnTo>
                  <a:pt x="466" y="121"/>
                </a:lnTo>
                <a:lnTo>
                  <a:pt x="473" y="130"/>
                </a:lnTo>
                <a:lnTo>
                  <a:pt x="473" y="140"/>
                </a:lnTo>
                <a:lnTo>
                  <a:pt x="473" y="147"/>
                </a:lnTo>
                <a:lnTo>
                  <a:pt x="466" y="147"/>
                </a:lnTo>
                <a:lnTo>
                  <a:pt x="466" y="166"/>
                </a:lnTo>
                <a:lnTo>
                  <a:pt x="456" y="182"/>
                </a:lnTo>
                <a:lnTo>
                  <a:pt x="449" y="182"/>
                </a:lnTo>
                <a:lnTo>
                  <a:pt x="440" y="199"/>
                </a:lnTo>
                <a:lnTo>
                  <a:pt x="440" y="206"/>
                </a:lnTo>
                <a:lnTo>
                  <a:pt x="440" y="19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6" name="Freeform 524">
            <a:extLst>
              <a:ext uri="{FF2B5EF4-FFF2-40B4-BE49-F238E27FC236}">
                <a16:creationId xmlns:a16="http://schemas.microsoft.com/office/drawing/2014/main" id="{4918FCA0-669D-4AEC-ABCC-96DC17F9EF16}"/>
              </a:ext>
            </a:extLst>
          </p:cNvPr>
          <p:cNvSpPr>
            <a:spLocks/>
          </p:cNvSpPr>
          <p:nvPr/>
        </p:nvSpPr>
        <p:spPr bwMode="auto">
          <a:xfrm>
            <a:off x="1511090" y="2361843"/>
            <a:ext cx="501411" cy="651923"/>
          </a:xfrm>
          <a:custGeom>
            <a:avLst/>
            <a:gdLst>
              <a:gd name="T0" fmla="*/ 19 w 563"/>
              <a:gd name="T1" fmla="*/ 448 h 732"/>
              <a:gd name="T2" fmla="*/ 19 w 563"/>
              <a:gd name="T3" fmla="*/ 490 h 732"/>
              <a:gd name="T4" fmla="*/ 78 w 563"/>
              <a:gd name="T5" fmla="*/ 535 h 732"/>
              <a:gd name="T6" fmla="*/ 78 w 563"/>
              <a:gd name="T7" fmla="*/ 568 h 732"/>
              <a:gd name="T8" fmla="*/ 62 w 563"/>
              <a:gd name="T9" fmla="*/ 630 h 732"/>
              <a:gd name="T10" fmla="*/ 62 w 563"/>
              <a:gd name="T11" fmla="*/ 673 h 732"/>
              <a:gd name="T12" fmla="*/ 104 w 563"/>
              <a:gd name="T13" fmla="*/ 673 h 732"/>
              <a:gd name="T14" fmla="*/ 149 w 563"/>
              <a:gd name="T15" fmla="*/ 682 h 732"/>
              <a:gd name="T16" fmla="*/ 192 w 563"/>
              <a:gd name="T17" fmla="*/ 689 h 732"/>
              <a:gd name="T18" fmla="*/ 234 w 563"/>
              <a:gd name="T19" fmla="*/ 715 h 732"/>
              <a:gd name="T20" fmla="*/ 277 w 563"/>
              <a:gd name="T21" fmla="*/ 708 h 732"/>
              <a:gd name="T22" fmla="*/ 322 w 563"/>
              <a:gd name="T23" fmla="*/ 708 h 732"/>
              <a:gd name="T24" fmla="*/ 374 w 563"/>
              <a:gd name="T25" fmla="*/ 699 h 732"/>
              <a:gd name="T26" fmla="*/ 407 w 563"/>
              <a:gd name="T27" fmla="*/ 715 h 732"/>
              <a:gd name="T28" fmla="*/ 424 w 563"/>
              <a:gd name="T29" fmla="*/ 715 h 732"/>
              <a:gd name="T30" fmla="*/ 407 w 563"/>
              <a:gd name="T31" fmla="*/ 673 h 732"/>
              <a:gd name="T32" fmla="*/ 450 w 563"/>
              <a:gd name="T33" fmla="*/ 630 h 732"/>
              <a:gd name="T34" fmla="*/ 476 w 563"/>
              <a:gd name="T35" fmla="*/ 613 h 732"/>
              <a:gd name="T36" fmla="*/ 443 w 563"/>
              <a:gd name="T37" fmla="*/ 578 h 732"/>
              <a:gd name="T38" fmla="*/ 407 w 563"/>
              <a:gd name="T39" fmla="*/ 519 h 732"/>
              <a:gd name="T40" fmla="*/ 381 w 563"/>
              <a:gd name="T41" fmla="*/ 467 h 732"/>
              <a:gd name="T42" fmla="*/ 400 w 563"/>
              <a:gd name="T43" fmla="*/ 441 h 732"/>
              <a:gd name="T44" fmla="*/ 459 w 563"/>
              <a:gd name="T45" fmla="*/ 431 h 732"/>
              <a:gd name="T46" fmla="*/ 528 w 563"/>
              <a:gd name="T47" fmla="*/ 389 h 732"/>
              <a:gd name="T48" fmla="*/ 554 w 563"/>
              <a:gd name="T49" fmla="*/ 389 h 732"/>
              <a:gd name="T50" fmla="*/ 554 w 563"/>
              <a:gd name="T51" fmla="*/ 336 h 732"/>
              <a:gd name="T52" fmla="*/ 547 w 563"/>
              <a:gd name="T53" fmla="*/ 268 h 732"/>
              <a:gd name="T54" fmla="*/ 528 w 563"/>
              <a:gd name="T55" fmla="*/ 235 h 732"/>
              <a:gd name="T56" fmla="*/ 537 w 563"/>
              <a:gd name="T57" fmla="*/ 183 h 732"/>
              <a:gd name="T58" fmla="*/ 511 w 563"/>
              <a:gd name="T59" fmla="*/ 121 h 732"/>
              <a:gd name="T60" fmla="*/ 476 w 563"/>
              <a:gd name="T61" fmla="*/ 88 h 732"/>
              <a:gd name="T62" fmla="*/ 443 w 563"/>
              <a:gd name="T63" fmla="*/ 88 h 732"/>
              <a:gd name="T64" fmla="*/ 390 w 563"/>
              <a:gd name="T65" fmla="*/ 105 h 732"/>
              <a:gd name="T66" fmla="*/ 355 w 563"/>
              <a:gd name="T67" fmla="*/ 88 h 732"/>
              <a:gd name="T68" fmla="*/ 346 w 563"/>
              <a:gd name="T69" fmla="*/ 69 h 732"/>
              <a:gd name="T70" fmla="*/ 312 w 563"/>
              <a:gd name="T71" fmla="*/ 52 h 732"/>
              <a:gd name="T72" fmla="*/ 296 w 563"/>
              <a:gd name="T73" fmla="*/ 26 h 732"/>
              <a:gd name="T74" fmla="*/ 244 w 563"/>
              <a:gd name="T75" fmla="*/ 0 h 732"/>
              <a:gd name="T76" fmla="*/ 234 w 563"/>
              <a:gd name="T77" fmla="*/ 52 h 732"/>
              <a:gd name="T78" fmla="*/ 234 w 563"/>
              <a:gd name="T79" fmla="*/ 78 h 732"/>
              <a:gd name="T80" fmla="*/ 270 w 563"/>
              <a:gd name="T81" fmla="*/ 131 h 732"/>
              <a:gd name="T82" fmla="*/ 218 w 563"/>
              <a:gd name="T83" fmla="*/ 114 h 732"/>
              <a:gd name="T84" fmla="*/ 201 w 563"/>
              <a:gd name="T85" fmla="*/ 140 h 732"/>
              <a:gd name="T86" fmla="*/ 182 w 563"/>
              <a:gd name="T87" fmla="*/ 131 h 732"/>
              <a:gd name="T88" fmla="*/ 140 w 563"/>
              <a:gd name="T89" fmla="*/ 105 h 732"/>
              <a:gd name="T90" fmla="*/ 130 w 563"/>
              <a:gd name="T91" fmla="*/ 131 h 732"/>
              <a:gd name="T92" fmla="*/ 130 w 563"/>
              <a:gd name="T93" fmla="*/ 173 h 732"/>
              <a:gd name="T94" fmla="*/ 123 w 563"/>
              <a:gd name="T95" fmla="*/ 216 h 732"/>
              <a:gd name="T96" fmla="*/ 104 w 563"/>
              <a:gd name="T97" fmla="*/ 268 h 732"/>
              <a:gd name="T98" fmla="*/ 45 w 563"/>
              <a:gd name="T99" fmla="*/ 268 h 732"/>
              <a:gd name="T100" fmla="*/ 29 w 563"/>
              <a:gd name="T101" fmla="*/ 320 h 732"/>
              <a:gd name="T102" fmla="*/ 0 w 563"/>
              <a:gd name="T103" fmla="*/ 372 h 732"/>
              <a:gd name="T104" fmla="*/ 0 w 563"/>
              <a:gd name="T105" fmla="*/ 398 h 7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63" h="732">
                <a:moveTo>
                  <a:pt x="0" y="415"/>
                </a:moveTo>
                <a:lnTo>
                  <a:pt x="0" y="422"/>
                </a:lnTo>
                <a:lnTo>
                  <a:pt x="10" y="431"/>
                </a:lnTo>
                <a:lnTo>
                  <a:pt x="19" y="441"/>
                </a:lnTo>
                <a:lnTo>
                  <a:pt x="19" y="448"/>
                </a:lnTo>
                <a:lnTo>
                  <a:pt x="19" y="457"/>
                </a:lnTo>
                <a:lnTo>
                  <a:pt x="19" y="467"/>
                </a:lnTo>
                <a:lnTo>
                  <a:pt x="19" y="474"/>
                </a:lnTo>
                <a:lnTo>
                  <a:pt x="10" y="474"/>
                </a:lnTo>
                <a:lnTo>
                  <a:pt x="19" y="490"/>
                </a:lnTo>
                <a:lnTo>
                  <a:pt x="29" y="509"/>
                </a:lnTo>
                <a:lnTo>
                  <a:pt x="36" y="519"/>
                </a:lnTo>
                <a:lnTo>
                  <a:pt x="52" y="526"/>
                </a:lnTo>
                <a:lnTo>
                  <a:pt x="71" y="526"/>
                </a:lnTo>
                <a:lnTo>
                  <a:pt x="78" y="535"/>
                </a:lnTo>
                <a:lnTo>
                  <a:pt x="88" y="535"/>
                </a:lnTo>
                <a:lnTo>
                  <a:pt x="97" y="535"/>
                </a:lnTo>
                <a:lnTo>
                  <a:pt x="104" y="545"/>
                </a:lnTo>
                <a:lnTo>
                  <a:pt x="88" y="561"/>
                </a:lnTo>
                <a:lnTo>
                  <a:pt x="78" y="568"/>
                </a:lnTo>
                <a:lnTo>
                  <a:pt x="71" y="587"/>
                </a:lnTo>
                <a:lnTo>
                  <a:pt x="71" y="594"/>
                </a:lnTo>
                <a:lnTo>
                  <a:pt x="62" y="604"/>
                </a:lnTo>
                <a:lnTo>
                  <a:pt x="62" y="613"/>
                </a:lnTo>
                <a:lnTo>
                  <a:pt x="62" y="630"/>
                </a:lnTo>
                <a:lnTo>
                  <a:pt x="62" y="637"/>
                </a:lnTo>
                <a:lnTo>
                  <a:pt x="52" y="647"/>
                </a:lnTo>
                <a:lnTo>
                  <a:pt x="52" y="666"/>
                </a:lnTo>
                <a:lnTo>
                  <a:pt x="52" y="663"/>
                </a:lnTo>
                <a:lnTo>
                  <a:pt x="62" y="673"/>
                </a:lnTo>
                <a:lnTo>
                  <a:pt x="62" y="663"/>
                </a:lnTo>
                <a:lnTo>
                  <a:pt x="78" y="673"/>
                </a:lnTo>
                <a:lnTo>
                  <a:pt x="88" y="673"/>
                </a:lnTo>
                <a:lnTo>
                  <a:pt x="97" y="673"/>
                </a:lnTo>
                <a:lnTo>
                  <a:pt x="104" y="673"/>
                </a:lnTo>
                <a:lnTo>
                  <a:pt x="114" y="673"/>
                </a:lnTo>
                <a:lnTo>
                  <a:pt x="123" y="673"/>
                </a:lnTo>
                <a:lnTo>
                  <a:pt x="130" y="673"/>
                </a:lnTo>
                <a:lnTo>
                  <a:pt x="149" y="673"/>
                </a:lnTo>
                <a:lnTo>
                  <a:pt x="149" y="682"/>
                </a:lnTo>
                <a:lnTo>
                  <a:pt x="156" y="682"/>
                </a:lnTo>
                <a:lnTo>
                  <a:pt x="166" y="682"/>
                </a:lnTo>
                <a:lnTo>
                  <a:pt x="166" y="689"/>
                </a:lnTo>
                <a:lnTo>
                  <a:pt x="182" y="699"/>
                </a:lnTo>
                <a:lnTo>
                  <a:pt x="192" y="689"/>
                </a:lnTo>
                <a:lnTo>
                  <a:pt x="201" y="689"/>
                </a:lnTo>
                <a:lnTo>
                  <a:pt x="208" y="699"/>
                </a:lnTo>
                <a:lnTo>
                  <a:pt x="218" y="708"/>
                </a:lnTo>
                <a:lnTo>
                  <a:pt x="227" y="708"/>
                </a:lnTo>
                <a:lnTo>
                  <a:pt x="234" y="715"/>
                </a:lnTo>
                <a:lnTo>
                  <a:pt x="244" y="708"/>
                </a:lnTo>
                <a:lnTo>
                  <a:pt x="251" y="708"/>
                </a:lnTo>
                <a:lnTo>
                  <a:pt x="260" y="689"/>
                </a:lnTo>
                <a:lnTo>
                  <a:pt x="277" y="699"/>
                </a:lnTo>
                <a:lnTo>
                  <a:pt x="277" y="708"/>
                </a:lnTo>
                <a:lnTo>
                  <a:pt x="286" y="708"/>
                </a:lnTo>
                <a:lnTo>
                  <a:pt x="296" y="708"/>
                </a:lnTo>
                <a:lnTo>
                  <a:pt x="305" y="699"/>
                </a:lnTo>
                <a:lnTo>
                  <a:pt x="312" y="708"/>
                </a:lnTo>
                <a:lnTo>
                  <a:pt x="322" y="708"/>
                </a:lnTo>
                <a:lnTo>
                  <a:pt x="329" y="708"/>
                </a:lnTo>
                <a:lnTo>
                  <a:pt x="338" y="699"/>
                </a:lnTo>
                <a:lnTo>
                  <a:pt x="346" y="699"/>
                </a:lnTo>
                <a:lnTo>
                  <a:pt x="364" y="699"/>
                </a:lnTo>
                <a:lnTo>
                  <a:pt x="374" y="699"/>
                </a:lnTo>
                <a:lnTo>
                  <a:pt x="381" y="708"/>
                </a:lnTo>
                <a:lnTo>
                  <a:pt x="381" y="699"/>
                </a:lnTo>
                <a:lnTo>
                  <a:pt x="390" y="699"/>
                </a:lnTo>
                <a:lnTo>
                  <a:pt x="407" y="708"/>
                </a:lnTo>
                <a:lnTo>
                  <a:pt x="407" y="715"/>
                </a:lnTo>
                <a:lnTo>
                  <a:pt x="407" y="725"/>
                </a:lnTo>
                <a:lnTo>
                  <a:pt x="417" y="732"/>
                </a:lnTo>
                <a:lnTo>
                  <a:pt x="417" y="725"/>
                </a:lnTo>
                <a:lnTo>
                  <a:pt x="424" y="725"/>
                </a:lnTo>
                <a:lnTo>
                  <a:pt x="424" y="715"/>
                </a:lnTo>
                <a:lnTo>
                  <a:pt x="424" y="708"/>
                </a:lnTo>
                <a:lnTo>
                  <a:pt x="417" y="699"/>
                </a:lnTo>
                <a:lnTo>
                  <a:pt x="417" y="689"/>
                </a:lnTo>
                <a:lnTo>
                  <a:pt x="417" y="682"/>
                </a:lnTo>
                <a:lnTo>
                  <a:pt x="407" y="673"/>
                </a:lnTo>
                <a:lnTo>
                  <a:pt x="407" y="663"/>
                </a:lnTo>
                <a:lnTo>
                  <a:pt x="407" y="647"/>
                </a:lnTo>
                <a:lnTo>
                  <a:pt x="433" y="647"/>
                </a:lnTo>
                <a:lnTo>
                  <a:pt x="443" y="637"/>
                </a:lnTo>
                <a:lnTo>
                  <a:pt x="450" y="630"/>
                </a:lnTo>
                <a:lnTo>
                  <a:pt x="450" y="621"/>
                </a:lnTo>
                <a:lnTo>
                  <a:pt x="459" y="621"/>
                </a:lnTo>
                <a:lnTo>
                  <a:pt x="469" y="621"/>
                </a:lnTo>
                <a:lnTo>
                  <a:pt x="476" y="621"/>
                </a:lnTo>
                <a:lnTo>
                  <a:pt x="476" y="613"/>
                </a:lnTo>
                <a:lnTo>
                  <a:pt x="476" y="604"/>
                </a:lnTo>
                <a:lnTo>
                  <a:pt x="469" y="594"/>
                </a:lnTo>
                <a:lnTo>
                  <a:pt x="459" y="587"/>
                </a:lnTo>
                <a:lnTo>
                  <a:pt x="450" y="578"/>
                </a:lnTo>
                <a:lnTo>
                  <a:pt x="443" y="578"/>
                </a:lnTo>
                <a:lnTo>
                  <a:pt x="433" y="568"/>
                </a:lnTo>
                <a:lnTo>
                  <a:pt x="424" y="552"/>
                </a:lnTo>
                <a:lnTo>
                  <a:pt x="417" y="535"/>
                </a:lnTo>
                <a:lnTo>
                  <a:pt x="407" y="526"/>
                </a:lnTo>
                <a:lnTo>
                  <a:pt x="407" y="519"/>
                </a:lnTo>
                <a:lnTo>
                  <a:pt x="407" y="500"/>
                </a:lnTo>
                <a:lnTo>
                  <a:pt x="400" y="490"/>
                </a:lnTo>
                <a:lnTo>
                  <a:pt x="390" y="483"/>
                </a:lnTo>
                <a:lnTo>
                  <a:pt x="390" y="467"/>
                </a:lnTo>
                <a:lnTo>
                  <a:pt x="381" y="467"/>
                </a:lnTo>
                <a:lnTo>
                  <a:pt x="374" y="448"/>
                </a:lnTo>
                <a:lnTo>
                  <a:pt x="374" y="431"/>
                </a:lnTo>
                <a:lnTo>
                  <a:pt x="381" y="441"/>
                </a:lnTo>
                <a:lnTo>
                  <a:pt x="381" y="448"/>
                </a:lnTo>
                <a:lnTo>
                  <a:pt x="400" y="441"/>
                </a:lnTo>
                <a:lnTo>
                  <a:pt x="407" y="448"/>
                </a:lnTo>
                <a:lnTo>
                  <a:pt x="424" y="448"/>
                </a:lnTo>
                <a:lnTo>
                  <a:pt x="443" y="441"/>
                </a:lnTo>
                <a:lnTo>
                  <a:pt x="450" y="441"/>
                </a:lnTo>
                <a:lnTo>
                  <a:pt x="459" y="431"/>
                </a:lnTo>
                <a:lnTo>
                  <a:pt x="469" y="431"/>
                </a:lnTo>
                <a:lnTo>
                  <a:pt x="495" y="415"/>
                </a:lnTo>
                <a:lnTo>
                  <a:pt x="502" y="405"/>
                </a:lnTo>
                <a:lnTo>
                  <a:pt x="511" y="398"/>
                </a:lnTo>
                <a:lnTo>
                  <a:pt x="528" y="389"/>
                </a:lnTo>
                <a:lnTo>
                  <a:pt x="537" y="398"/>
                </a:lnTo>
                <a:lnTo>
                  <a:pt x="537" y="405"/>
                </a:lnTo>
                <a:lnTo>
                  <a:pt x="547" y="405"/>
                </a:lnTo>
                <a:lnTo>
                  <a:pt x="554" y="398"/>
                </a:lnTo>
                <a:lnTo>
                  <a:pt x="554" y="389"/>
                </a:lnTo>
                <a:lnTo>
                  <a:pt x="554" y="363"/>
                </a:lnTo>
                <a:lnTo>
                  <a:pt x="563" y="353"/>
                </a:lnTo>
                <a:lnTo>
                  <a:pt x="554" y="353"/>
                </a:lnTo>
                <a:lnTo>
                  <a:pt x="554" y="346"/>
                </a:lnTo>
                <a:lnTo>
                  <a:pt x="554" y="336"/>
                </a:lnTo>
                <a:lnTo>
                  <a:pt x="554" y="310"/>
                </a:lnTo>
                <a:lnTo>
                  <a:pt x="554" y="303"/>
                </a:lnTo>
                <a:lnTo>
                  <a:pt x="547" y="284"/>
                </a:lnTo>
                <a:lnTo>
                  <a:pt x="547" y="277"/>
                </a:lnTo>
                <a:lnTo>
                  <a:pt x="547" y="268"/>
                </a:lnTo>
                <a:lnTo>
                  <a:pt x="554" y="258"/>
                </a:lnTo>
                <a:lnTo>
                  <a:pt x="547" y="258"/>
                </a:lnTo>
                <a:lnTo>
                  <a:pt x="537" y="251"/>
                </a:lnTo>
                <a:lnTo>
                  <a:pt x="537" y="242"/>
                </a:lnTo>
                <a:lnTo>
                  <a:pt x="528" y="235"/>
                </a:lnTo>
                <a:lnTo>
                  <a:pt x="521" y="216"/>
                </a:lnTo>
                <a:lnTo>
                  <a:pt x="528" y="209"/>
                </a:lnTo>
                <a:lnTo>
                  <a:pt x="537" y="199"/>
                </a:lnTo>
                <a:lnTo>
                  <a:pt x="537" y="192"/>
                </a:lnTo>
                <a:lnTo>
                  <a:pt x="537" y="183"/>
                </a:lnTo>
                <a:lnTo>
                  <a:pt x="537" y="173"/>
                </a:lnTo>
                <a:lnTo>
                  <a:pt x="537" y="166"/>
                </a:lnTo>
                <a:lnTo>
                  <a:pt x="537" y="140"/>
                </a:lnTo>
                <a:lnTo>
                  <a:pt x="511" y="140"/>
                </a:lnTo>
                <a:lnTo>
                  <a:pt x="511" y="121"/>
                </a:lnTo>
                <a:lnTo>
                  <a:pt x="511" y="105"/>
                </a:lnTo>
                <a:lnTo>
                  <a:pt x="495" y="105"/>
                </a:lnTo>
                <a:lnTo>
                  <a:pt x="485" y="105"/>
                </a:lnTo>
                <a:lnTo>
                  <a:pt x="485" y="95"/>
                </a:lnTo>
                <a:lnTo>
                  <a:pt x="476" y="88"/>
                </a:lnTo>
                <a:lnTo>
                  <a:pt x="476" y="78"/>
                </a:lnTo>
                <a:lnTo>
                  <a:pt x="469" y="78"/>
                </a:lnTo>
                <a:lnTo>
                  <a:pt x="459" y="88"/>
                </a:lnTo>
                <a:lnTo>
                  <a:pt x="450" y="88"/>
                </a:lnTo>
                <a:lnTo>
                  <a:pt x="443" y="88"/>
                </a:lnTo>
                <a:lnTo>
                  <a:pt x="424" y="95"/>
                </a:lnTo>
                <a:lnTo>
                  <a:pt x="407" y="105"/>
                </a:lnTo>
                <a:lnTo>
                  <a:pt x="400" y="95"/>
                </a:lnTo>
                <a:lnTo>
                  <a:pt x="400" y="105"/>
                </a:lnTo>
                <a:lnTo>
                  <a:pt x="390" y="105"/>
                </a:lnTo>
                <a:lnTo>
                  <a:pt x="374" y="105"/>
                </a:lnTo>
                <a:lnTo>
                  <a:pt x="364" y="105"/>
                </a:lnTo>
                <a:lnTo>
                  <a:pt x="346" y="95"/>
                </a:lnTo>
                <a:lnTo>
                  <a:pt x="355" y="95"/>
                </a:lnTo>
                <a:lnTo>
                  <a:pt x="355" y="88"/>
                </a:lnTo>
                <a:lnTo>
                  <a:pt x="364" y="88"/>
                </a:lnTo>
                <a:lnTo>
                  <a:pt x="364" y="78"/>
                </a:lnTo>
                <a:lnTo>
                  <a:pt x="364" y="69"/>
                </a:lnTo>
                <a:lnTo>
                  <a:pt x="355" y="69"/>
                </a:lnTo>
                <a:lnTo>
                  <a:pt x="346" y="69"/>
                </a:lnTo>
                <a:lnTo>
                  <a:pt x="338" y="78"/>
                </a:lnTo>
                <a:lnTo>
                  <a:pt x="329" y="62"/>
                </a:lnTo>
                <a:lnTo>
                  <a:pt x="322" y="62"/>
                </a:lnTo>
                <a:lnTo>
                  <a:pt x="312" y="62"/>
                </a:lnTo>
                <a:lnTo>
                  <a:pt x="312" y="52"/>
                </a:lnTo>
                <a:lnTo>
                  <a:pt x="305" y="52"/>
                </a:lnTo>
                <a:lnTo>
                  <a:pt x="296" y="52"/>
                </a:lnTo>
                <a:lnTo>
                  <a:pt x="296" y="45"/>
                </a:lnTo>
                <a:lnTo>
                  <a:pt x="305" y="36"/>
                </a:lnTo>
                <a:lnTo>
                  <a:pt x="296" y="26"/>
                </a:lnTo>
                <a:lnTo>
                  <a:pt x="286" y="19"/>
                </a:lnTo>
                <a:lnTo>
                  <a:pt x="277" y="10"/>
                </a:lnTo>
                <a:lnTo>
                  <a:pt x="260" y="10"/>
                </a:lnTo>
                <a:lnTo>
                  <a:pt x="251" y="0"/>
                </a:lnTo>
                <a:lnTo>
                  <a:pt x="244" y="0"/>
                </a:lnTo>
                <a:lnTo>
                  <a:pt x="244" y="19"/>
                </a:lnTo>
                <a:lnTo>
                  <a:pt x="244" y="26"/>
                </a:lnTo>
                <a:lnTo>
                  <a:pt x="251" y="36"/>
                </a:lnTo>
                <a:lnTo>
                  <a:pt x="251" y="45"/>
                </a:lnTo>
                <a:lnTo>
                  <a:pt x="234" y="52"/>
                </a:lnTo>
                <a:lnTo>
                  <a:pt x="227" y="52"/>
                </a:lnTo>
                <a:lnTo>
                  <a:pt x="227" y="62"/>
                </a:lnTo>
                <a:lnTo>
                  <a:pt x="234" y="62"/>
                </a:lnTo>
                <a:lnTo>
                  <a:pt x="234" y="69"/>
                </a:lnTo>
                <a:lnTo>
                  <a:pt x="234" y="78"/>
                </a:lnTo>
                <a:lnTo>
                  <a:pt x="251" y="88"/>
                </a:lnTo>
                <a:lnTo>
                  <a:pt x="244" y="95"/>
                </a:lnTo>
                <a:lnTo>
                  <a:pt x="251" y="105"/>
                </a:lnTo>
                <a:lnTo>
                  <a:pt x="270" y="114"/>
                </a:lnTo>
                <a:lnTo>
                  <a:pt x="270" y="131"/>
                </a:lnTo>
                <a:lnTo>
                  <a:pt x="260" y="114"/>
                </a:lnTo>
                <a:lnTo>
                  <a:pt x="251" y="105"/>
                </a:lnTo>
                <a:lnTo>
                  <a:pt x="234" y="105"/>
                </a:lnTo>
                <a:lnTo>
                  <a:pt x="218" y="105"/>
                </a:lnTo>
                <a:lnTo>
                  <a:pt x="218" y="114"/>
                </a:lnTo>
                <a:lnTo>
                  <a:pt x="218" y="131"/>
                </a:lnTo>
                <a:lnTo>
                  <a:pt x="218" y="140"/>
                </a:lnTo>
                <a:lnTo>
                  <a:pt x="208" y="147"/>
                </a:lnTo>
                <a:lnTo>
                  <a:pt x="208" y="157"/>
                </a:lnTo>
                <a:lnTo>
                  <a:pt x="201" y="140"/>
                </a:lnTo>
                <a:lnTo>
                  <a:pt x="201" y="131"/>
                </a:lnTo>
                <a:lnTo>
                  <a:pt x="201" y="121"/>
                </a:lnTo>
                <a:lnTo>
                  <a:pt x="192" y="121"/>
                </a:lnTo>
                <a:lnTo>
                  <a:pt x="192" y="131"/>
                </a:lnTo>
                <a:lnTo>
                  <a:pt x="182" y="131"/>
                </a:lnTo>
                <a:lnTo>
                  <a:pt x="182" y="121"/>
                </a:lnTo>
                <a:lnTo>
                  <a:pt x="192" y="114"/>
                </a:lnTo>
                <a:lnTo>
                  <a:pt x="173" y="105"/>
                </a:lnTo>
                <a:lnTo>
                  <a:pt x="156" y="105"/>
                </a:lnTo>
                <a:lnTo>
                  <a:pt x="140" y="105"/>
                </a:lnTo>
                <a:lnTo>
                  <a:pt x="130" y="105"/>
                </a:lnTo>
                <a:lnTo>
                  <a:pt x="130" y="114"/>
                </a:lnTo>
                <a:lnTo>
                  <a:pt x="123" y="121"/>
                </a:lnTo>
                <a:lnTo>
                  <a:pt x="123" y="131"/>
                </a:lnTo>
                <a:lnTo>
                  <a:pt x="130" y="131"/>
                </a:lnTo>
                <a:lnTo>
                  <a:pt x="130" y="140"/>
                </a:lnTo>
                <a:lnTo>
                  <a:pt x="140" y="147"/>
                </a:lnTo>
                <a:lnTo>
                  <a:pt x="130" y="157"/>
                </a:lnTo>
                <a:lnTo>
                  <a:pt x="130" y="166"/>
                </a:lnTo>
                <a:lnTo>
                  <a:pt x="130" y="173"/>
                </a:lnTo>
                <a:lnTo>
                  <a:pt x="130" y="183"/>
                </a:lnTo>
                <a:lnTo>
                  <a:pt x="123" y="183"/>
                </a:lnTo>
                <a:lnTo>
                  <a:pt x="123" y="192"/>
                </a:lnTo>
                <a:lnTo>
                  <a:pt x="123" y="209"/>
                </a:lnTo>
                <a:lnTo>
                  <a:pt x="123" y="216"/>
                </a:lnTo>
                <a:lnTo>
                  <a:pt x="114" y="225"/>
                </a:lnTo>
                <a:lnTo>
                  <a:pt x="123" y="235"/>
                </a:lnTo>
                <a:lnTo>
                  <a:pt x="123" y="242"/>
                </a:lnTo>
                <a:lnTo>
                  <a:pt x="114" y="268"/>
                </a:lnTo>
                <a:lnTo>
                  <a:pt x="104" y="268"/>
                </a:lnTo>
                <a:lnTo>
                  <a:pt x="97" y="268"/>
                </a:lnTo>
                <a:lnTo>
                  <a:pt x="88" y="268"/>
                </a:lnTo>
                <a:lnTo>
                  <a:pt x="78" y="268"/>
                </a:lnTo>
                <a:lnTo>
                  <a:pt x="71" y="258"/>
                </a:lnTo>
                <a:lnTo>
                  <a:pt x="45" y="268"/>
                </a:lnTo>
                <a:lnTo>
                  <a:pt x="29" y="277"/>
                </a:lnTo>
                <a:lnTo>
                  <a:pt x="29" y="284"/>
                </a:lnTo>
                <a:lnTo>
                  <a:pt x="29" y="294"/>
                </a:lnTo>
                <a:lnTo>
                  <a:pt x="29" y="310"/>
                </a:lnTo>
                <a:lnTo>
                  <a:pt x="29" y="320"/>
                </a:lnTo>
                <a:lnTo>
                  <a:pt x="10" y="329"/>
                </a:lnTo>
                <a:lnTo>
                  <a:pt x="10" y="336"/>
                </a:lnTo>
                <a:lnTo>
                  <a:pt x="10" y="346"/>
                </a:lnTo>
                <a:lnTo>
                  <a:pt x="10" y="353"/>
                </a:lnTo>
                <a:lnTo>
                  <a:pt x="0" y="372"/>
                </a:lnTo>
                <a:lnTo>
                  <a:pt x="10" y="372"/>
                </a:lnTo>
                <a:lnTo>
                  <a:pt x="10" y="379"/>
                </a:lnTo>
                <a:lnTo>
                  <a:pt x="10" y="389"/>
                </a:lnTo>
                <a:lnTo>
                  <a:pt x="0" y="389"/>
                </a:lnTo>
                <a:lnTo>
                  <a:pt x="0" y="398"/>
                </a:lnTo>
                <a:lnTo>
                  <a:pt x="0" y="405"/>
                </a:lnTo>
                <a:lnTo>
                  <a:pt x="0" y="4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7" name="Freeform 525">
            <a:extLst>
              <a:ext uri="{FF2B5EF4-FFF2-40B4-BE49-F238E27FC236}">
                <a16:creationId xmlns:a16="http://schemas.microsoft.com/office/drawing/2014/main" id="{F12402EA-E66F-48C5-9BB9-0767DC0F0FB3}"/>
              </a:ext>
            </a:extLst>
          </p:cNvPr>
          <p:cNvSpPr>
            <a:spLocks/>
          </p:cNvSpPr>
          <p:nvPr/>
        </p:nvSpPr>
        <p:spPr bwMode="auto">
          <a:xfrm>
            <a:off x="1707019" y="2201537"/>
            <a:ext cx="138935" cy="177231"/>
          </a:xfrm>
          <a:custGeom>
            <a:avLst/>
            <a:gdLst>
              <a:gd name="T0" fmla="*/ 33 w 156"/>
              <a:gd name="T1" fmla="*/ 183 h 199"/>
              <a:gd name="T2" fmla="*/ 62 w 156"/>
              <a:gd name="T3" fmla="*/ 190 h 199"/>
              <a:gd name="T4" fmla="*/ 59 w 156"/>
              <a:gd name="T5" fmla="*/ 199 h 199"/>
              <a:gd name="T6" fmla="*/ 78 w 156"/>
              <a:gd name="T7" fmla="*/ 190 h 199"/>
              <a:gd name="T8" fmla="*/ 59 w 156"/>
              <a:gd name="T9" fmla="*/ 173 h 199"/>
              <a:gd name="T10" fmla="*/ 78 w 156"/>
              <a:gd name="T11" fmla="*/ 166 h 199"/>
              <a:gd name="T12" fmla="*/ 69 w 156"/>
              <a:gd name="T13" fmla="*/ 150 h 199"/>
              <a:gd name="T14" fmla="*/ 78 w 156"/>
              <a:gd name="T15" fmla="*/ 140 h 199"/>
              <a:gd name="T16" fmla="*/ 88 w 156"/>
              <a:gd name="T17" fmla="*/ 131 h 199"/>
              <a:gd name="T18" fmla="*/ 104 w 156"/>
              <a:gd name="T19" fmla="*/ 121 h 199"/>
              <a:gd name="T20" fmla="*/ 121 w 156"/>
              <a:gd name="T21" fmla="*/ 105 h 199"/>
              <a:gd name="T22" fmla="*/ 121 w 156"/>
              <a:gd name="T23" fmla="*/ 79 h 199"/>
              <a:gd name="T24" fmla="*/ 137 w 156"/>
              <a:gd name="T25" fmla="*/ 71 h 199"/>
              <a:gd name="T26" fmla="*/ 147 w 156"/>
              <a:gd name="T27" fmla="*/ 79 h 199"/>
              <a:gd name="T28" fmla="*/ 156 w 156"/>
              <a:gd name="T29" fmla="*/ 62 h 199"/>
              <a:gd name="T30" fmla="*/ 147 w 156"/>
              <a:gd name="T31" fmla="*/ 45 h 199"/>
              <a:gd name="T32" fmla="*/ 130 w 156"/>
              <a:gd name="T33" fmla="*/ 45 h 199"/>
              <a:gd name="T34" fmla="*/ 121 w 156"/>
              <a:gd name="T35" fmla="*/ 36 h 199"/>
              <a:gd name="T36" fmla="*/ 130 w 156"/>
              <a:gd name="T37" fmla="*/ 19 h 199"/>
              <a:gd name="T38" fmla="*/ 130 w 156"/>
              <a:gd name="T39" fmla="*/ 10 h 199"/>
              <a:gd name="T40" fmla="*/ 121 w 156"/>
              <a:gd name="T41" fmla="*/ 0 h 199"/>
              <a:gd name="T42" fmla="*/ 114 w 156"/>
              <a:gd name="T43" fmla="*/ 10 h 199"/>
              <a:gd name="T44" fmla="*/ 88 w 156"/>
              <a:gd name="T45" fmla="*/ 10 h 199"/>
              <a:gd name="T46" fmla="*/ 88 w 156"/>
              <a:gd name="T47" fmla="*/ 27 h 199"/>
              <a:gd name="T48" fmla="*/ 88 w 156"/>
              <a:gd name="T49" fmla="*/ 45 h 199"/>
              <a:gd name="T50" fmla="*/ 78 w 156"/>
              <a:gd name="T51" fmla="*/ 27 h 199"/>
              <a:gd name="T52" fmla="*/ 69 w 156"/>
              <a:gd name="T53" fmla="*/ 27 h 199"/>
              <a:gd name="T54" fmla="*/ 59 w 156"/>
              <a:gd name="T55" fmla="*/ 19 h 199"/>
              <a:gd name="T56" fmla="*/ 52 w 156"/>
              <a:gd name="T57" fmla="*/ 36 h 199"/>
              <a:gd name="T58" fmla="*/ 43 w 156"/>
              <a:gd name="T59" fmla="*/ 45 h 199"/>
              <a:gd name="T60" fmla="*/ 33 w 156"/>
              <a:gd name="T61" fmla="*/ 27 h 199"/>
              <a:gd name="T62" fmla="*/ 26 w 156"/>
              <a:gd name="T63" fmla="*/ 19 h 199"/>
              <a:gd name="T64" fmla="*/ 17 w 156"/>
              <a:gd name="T65" fmla="*/ 27 h 199"/>
              <a:gd name="T66" fmla="*/ 10 w 156"/>
              <a:gd name="T67" fmla="*/ 45 h 199"/>
              <a:gd name="T68" fmla="*/ 10 w 156"/>
              <a:gd name="T69" fmla="*/ 71 h 199"/>
              <a:gd name="T70" fmla="*/ 10 w 156"/>
              <a:gd name="T71" fmla="*/ 88 h 199"/>
              <a:gd name="T72" fmla="*/ 10 w 156"/>
              <a:gd name="T73" fmla="*/ 105 h 199"/>
              <a:gd name="T74" fmla="*/ 10 w 156"/>
              <a:gd name="T75" fmla="*/ 121 h 199"/>
              <a:gd name="T76" fmla="*/ 17 w 156"/>
              <a:gd name="T77" fmla="*/ 131 h 199"/>
              <a:gd name="T78" fmla="*/ 26 w 156"/>
              <a:gd name="T79" fmla="*/ 150 h 199"/>
              <a:gd name="T80" fmla="*/ 26 w 156"/>
              <a:gd name="T81" fmla="*/ 173 h 199"/>
              <a:gd name="T82" fmla="*/ 26 w 156"/>
              <a:gd name="T83" fmla="*/ 190 h 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56" h="199">
                <a:moveTo>
                  <a:pt x="26" y="183"/>
                </a:moveTo>
                <a:lnTo>
                  <a:pt x="33" y="183"/>
                </a:lnTo>
                <a:lnTo>
                  <a:pt x="43" y="190"/>
                </a:lnTo>
                <a:lnTo>
                  <a:pt x="62" y="190"/>
                </a:lnTo>
                <a:lnTo>
                  <a:pt x="64" y="195"/>
                </a:lnTo>
                <a:lnTo>
                  <a:pt x="59" y="199"/>
                </a:lnTo>
                <a:lnTo>
                  <a:pt x="69" y="190"/>
                </a:lnTo>
                <a:lnTo>
                  <a:pt x="78" y="190"/>
                </a:lnTo>
                <a:lnTo>
                  <a:pt x="69" y="183"/>
                </a:lnTo>
                <a:lnTo>
                  <a:pt x="59" y="173"/>
                </a:lnTo>
                <a:lnTo>
                  <a:pt x="69" y="166"/>
                </a:lnTo>
                <a:lnTo>
                  <a:pt x="78" y="166"/>
                </a:lnTo>
                <a:lnTo>
                  <a:pt x="69" y="157"/>
                </a:lnTo>
                <a:lnTo>
                  <a:pt x="69" y="150"/>
                </a:lnTo>
                <a:lnTo>
                  <a:pt x="78" y="150"/>
                </a:lnTo>
                <a:lnTo>
                  <a:pt x="78" y="140"/>
                </a:lnTo>
                <a:lnTo>
                  <a:pt x="78" y="131"/>
                </a:lnTo>
                <a:lnTo>
                  <a:pt x="88" y="131"/>
                </a:lnTo>
                <a:lnTo>
                  <a:pt x="95" y="121"/>
                </a:lnTo>
                <a:lnTo>
                  <a:pt x="104" y="121"/>
                </a:lnTo>
                <a:lnTo>
                  <a:pt x="104" y="114"/>
                </a:lnTo>
                <a:lnTo>
                  <a:pt x="121" y="105"/>
                </a:lnTo>
                <a:lnTo>
                  <a:pt x="130" y="88"/>
                </a:lnTo>
                <a:lnTo>
                  <a:pt x="121" y="79"/>
                </a:lnTo>
                <a:lnTo>
                  <a:pt x="130" y="71"/>
                </a:lnTo>
                <a:lnTo>
                  <a:pt x="137" y="71"/>
                </a:lnTo>
                <a:lnTo>
                  <a:pt x="137" y="79"/>
                </a:lnTo>
                <a:lnTo>
                  <a:pt x="147" y="79"/>
                </a:lnTo>
                <a:lnTo>
                  <a:pt x="156" y="71"/>
                </a:lnTo>
                <a:lnTo>
                  <a:pt x="156" y="62"/>
                </a:lnTo>
                <a:lnTo>
                  <a:pt x="156" y="53"/>
                </a:lnTo>
                <a:lnTo>
                  <a:pt x="147" y="45"/>
                </a:lnTo>
                <a:lnTo>
                  <a:pt x="137" y="45"/>
                </a:lnTo>
                <a:lnTo>
                  <a:pt x="130" y="45"/>
                </a:lnTo>
                <a:lnTo>
                  <a:pt x="130" y="36"/>
                </a:lnTo>
                <a:lnTo>
                  <a:pt x="121" y="36"/>
                </a:lnTo>
                <a:lnTo>
                  <a:pt x="121" y="27"/>
                </a:lnTo>
                <a:lnTo>
                  <a:pt x="130" y="19"/>
                </a:lnTo>
                <a:lnTo>
                  <a:pt x="137" y="19"/>
                </a:lnTo>
                <a:lnTo>
                  <a:pt x="130" y="10"/>
                </a:lnTo>
                <a:lnTo>
                  <a:pt x="130" y="0"/>
                </a:lnTo>
                <a:lnTo>
                  <a:pt x="121" y="0"/>
                </a:lnTo>
                <a:lnTo>
                  <a:pt x="114" y="0"/>
                </a:lnTo>
                <a:lnTo>
                  <a:pt x="114" y="10"/>
                </a:lnTo>
                <a:lnTo>
                  <a:pt x="95" y="10"/>
                </a:lnTo>
                <a:lnTo>
                  <a:pt x="88" y="10"/>
                </a:lnTo>
                <a:lnTo>
                  <a:pt x="78" y="19"/>
                </a:lnTo>
                <a:lnTo>
                  <a:pt x="88" y="27"/>
                </a:lnTo>
                <a:lnTo>
                  <a:pt x="88" y="36"/>
                </a:lnTo>
                <a:lnTo>
                  <a:pt x="88" y="45"/>
                </a:lnTo>
                <a:lnTo>
                  <a:pt x="88" y="36"/>
                </a:lnTo>
                <a:lnTo>
                  <a:pt x="78" y="27"/>
                </a:lnTo>
                <a:lnTo>
                  <a:pt x="69" y="36"/>
                </a:lnTo>
                <a:lnTo>
                  <a:pt x="69" y="27"/>
                </a:lnTo>
                <a:lnTo>
                  <a:pt x="69" y="19"/>
                </a:lnTo>
                <a:lnTo>
                  <a:pt x="59" y="19"/>
                </a:lnTo>
                <a:lnTo>
                  <a:pt x="52" y="27"/>
                </a:lnTo>
                <a:lnTo>
                  <a:pt x="52" y="36"/>
                </a:lnTo>
                <a:lnTo>
                  <a:pt x="43" y="36"/>
                </a:lnTo>
                <a:lnTo>
                  <a:pt x="43" y="45"/>
                </a:lnTo>
                <a:lnTo>
                  <a:pt x="43" y="36"/>
                </a:lnTo>
                <a:lnTo>
                  <a:pt x="33" y="27"/>
                </a:lnTo>
                <a:lnTo>
                  <a:pt x="26" y="27"/>
                </a:lnTo>
                <a:lnTo>
                  <a:pt x="26" y="19"/>
                </a:lnTo>
                <a:lnTo>
                  <a:pt x="17" y="19"/>
                </a:lnTo>
                <a:lnTo>
                  <a:pt x="17" y="27"/>
                </a:lnTo>
                <a:lnTo>
                  <a:pt x="10" y="36"/>
                </a:lnTo>
                <a:lnTo>
                  <a:pt x="10" y="45"/>
                </a:lnTo>
                <a:lnTo>
                  <a:pt x="10" y="62"/>
                </a:lnTo>
                <a:lnTo>
                  <a:pt x="10" y="71"/>
                </a:lnTo>
                <a:lnTo>
                  <a:pt x="10" y="79"/>
                </a:lnTo>
                <a:lnTo>
                  <a:pt x="10" y="88"/>
                </a:lnTo>
                <a:lnTo>
                  <a:pt x="10" y="95"/>
                </a:lnTo>
                <a:lnTo>
                  <a:pt x="10" y="105"/>
                </a:lnTo>
                <a:lnTo>
                  <a:pt x="0" y="114"/>
                </a:lnTo>
                <a:lnTo>
                  <a:pt x="10" y="121"/>
                </a:lnTo>
                <a:lnTo>
                  <a:pt x="17" y="121"/>
                </a:lnTo>
                <a:lnTo>
                  <a:pt x="17" y="131"/>
                </a:lnTo>
                <a:lnTo>
                  <a:pt x="26" y="140"/>
                </a:lnTo>
                <a:lnTo>
                  <a:pt x="26" y="150"/>
                </a:lnTo>
                <a:lnTo>
                  <a:pt x="26" y="157"/>
                </a:lnTo>
                <a:lnTo>
                  <a:pt x="26" y="173"/>
                </a:lnTo>
                <a:lnTo>
                  <a:pt x="26" y="183"/>
                </a:lnTo>
                <a:lnTo>
                  <a:pt x="26" y="190"/>
                </a:lnTo>
                <a:lnTo>
                  <a:pt x="26" y="18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8" name="Freeform 526">
            <a:extLst>
              <a:ext uri="{FF2B5EF4-FFF2-40B4-BE49-F238E27FC236}">
                <a16:creationId xmlns:a16="http://schemas.microsoft.com/office/drawing/2014/main" id="{203B10EB-7A2A-45D2-8FEC-9A1B7509CD8C}"/>
              </a:ext>
            </a:extLst>
          </p:cNvPr>
          <p:cNvSpPr>
            <a:spLocks/>
          </p:cNvSpPr>
          <p:nvPr/>
        </p:nvSpPr>
        <p:spPr bwMode="auto">
          <a:xfrm>
            <a:off x="1342766" y="2600524"/>
            <a:ext cx="177231" cy="185246"/>
          </a:xfrm>
          <a:custGeom>
            <a:avLst/>
            <a:gdLst>
              <a:gd name="T0" fmla="*/ 182 w 199"/>
              <a:gd name="T1" fmla="*/ 35 h 208"/>
              <a:gd name="T2" fmla="*/ 165 w 199"/>
              <a:gd name="T3" fmla="*/ 19 h 208"/>
              <a:gd name="T4" fmla="*/ 147 w 199"/>
              <a:gd name="T5" fmla="*/ 26 h 208"/>
              <a:gd name="T6" fmla="*/ 139 w 199"/>
              <a:gd name="T7" fmla="*/ 19 h 208"/>
              <a:gd name="T8" fmla="*/ 104 w 199"/>
              <a:gd name="T9" fmla="*/ 9 h 208"/>
              <a:gd name="T10" fmla="*/ 95 w 199"/>
              <a:gd name="T11" fmla="*/ 26 h 208"/>
              <a:gd name="T12" fmla="*/ 68 w 199"/>
              <a:gd name="T13" fmla="*/ 26 h 208"/>
              <a:gd name="T14" fmla="*/ 61 w 199"/>
              <a:gd name="T15" fmla="*/ 19 h 208"/>
              <a:gd name="T16" fmla="*/ 45 w 199"/>
              <a:gd name="T17" fmla="*/ 9 h 208"/>
              <a:gd name="T18" fmla="*/ 35 w 199"/>
              <a:gd name="T19" fmla="*/ 0 h 208"/>
              <a:gd name="T20" fmla="*/ 19 w 199"/>
              <a:gd name="T21" fmla="*/ 0 h 208"/>
              <a:gd name="T22" fmla="*/ 0 w 199"/>
              <a:gd name="T23" fmla="*/ 19 h 208"/>
              <a:gd name="T24" fmla="*/ 0 w 199"/>
              <a:gd name="T25" fmla="*/ 35 h 208"/>
              <a:gd name="T26" fmla="*/ 9 w 199"/>
              <a:gd name="T27" fmla="*/ 52 h 208"/>
              <a:gd name="T28" fmla="*/ 19 w 199"/>
              <a:gd name="T29" fmla="*/ 61 h 208"/>
              <a:gd name="T30" fmla="*/ 26 w 199"/>
              <a:gd name="T31" fmla="*/ 71 h 208"/>
              <a:gd name="T32" fmla="*/ 35 w 199"/>
              <a:gd name="T33" fmla="*/ 78 h 208"/>
              <a:gd name="T34" fmla="*/ 45 w 199"/>
              <a:gd name="T35" fmla="*/ 87 h 208"/>
              <a:gd name="T36" fmla="*/ 61 w 199"/>
              <a:gd name="T37" fmla="*/ 104 h 208"/>
              <a:gd name="T38" fmla="*/ 78 w 199"/>
              <a:gd name="T39" fmla="*/ 104 h 208"/>
              <a:gd name="T40" fmla="*/ 78 w 199"/>
              <a:gd name="T41" fmla="*/ 130 h 208"/>
              <a:gd name="T42" fmla="*/ 78 w 199"/>
              <a:gd name="T43" fmla="*/ 149 h 208"/>
              <a:gd name="T44" fmla="*/ 95 w 199"/>
              <a:gd name="T45" fmla="*/ 149 h 208"/>
              <a:gd name="T46" fmla="*/ 104 w 199"/>
              <a:gd name="T47" fmla="*/ 140 h 208"/>
              <a:gd name="T48" fmla="*/ 113 w 199"/>
              <a:gd name="T49" fmla="*/ 156 h 208"/>
              <a:gd name="T50" fmla="*/ 123 w 199"/>
              <a:gd name="T51" fmla="*/ 173 h 208"/>
              <a:gd name="T52" fmla="*/ 130 w 199"/>
              <a:gd name="T53" fmla="*/ 182 h 208"/>
              <a:gd name="T54" fmla="*/ 147 w 199"/>
              <a:gd name="T55" fmla="*/ 199 h 208"/>
              <a:gd name="T56" fmla="*/ 156 w 199"/>
              <a:gd name="T57" fmla="*/ 199 h 208"/>
              <a:gd name="T58" fmla="*/ 168 w 199"/>
              <a:gd name="T59" fmla="*/ 199 h 208"/>
              <a:gd name="T60" fmla="*/ 165 w 199"/>
              <a:gd name="T61" fmla="*/ 173 h 208"/>
              <a:gd name="T62" fmla="*/ 165 w 199"/>
              <a:gd name="T63" fmla="*/ 156 h 208"/>
              <a:gd name="T64" fmla="*/ 182 w 199"/>
              <a:gd name="T65" fmla="*/ 140 h 208"/>
              <a:gd name="T66" fmla="*/ 189 w 199"/>
              <a:gd name="T67" fmla="*/ 130 h 208"/>
              <a:gd name="T68" fmla="*/ 199 w 199"/>
              <a:gd name="T69" fmla="*/ 121 h 208"/>
              <a:gd name="T70" fmla="*/ 199 w 199"/>
              <a:gd name="T71" fmla="*/ 104 h 208"/>
              <a:gd name="T72" fmla="*/ 199 w 199"/>
              <a:gd name="T73" fmla="*/ 87 h 208"/>
              <a:gd name="T74" fmla="*/ 199 w 199"/>
              <a:gd name="T75" fmla="*/ 71 h 208"/>
              <a:gd name="T76" fmla="*/ 199 w 199"/>
              <a:gd name="T77" fmla="*/ 52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9" h="208">
                <a:moveTo>
                  <a:pt x="199" y="52"/>
                </a:moveTo>
                <a:lnTo>
                  <a:pt x="182" y="35"/>
                </a:lnTo>
                <a:lnTo>
                  <a:pt x="173" y="26"/>
                </a:lnTo>
                <a:lnTo>
                  <a:pt x="165" y="19"/>
                </a:lnTo>
                <a:lnTo>
                  <a:pt x="156" y="19"/>
                </a:lnTo>
                <a:lnTo>
                  <a:pt x="147" y="26"/>
                </a:lnTo>
                <a:lnTo>
                  <a:pt x="139" y="26"/>
                </a:lnTo>
                <a:lnTo>
                  <a:pt x="139" y="19"/>
                </a:lnTo>
                <a:lnTo>
                  <a:pt x="113" y="9"/>
                </a:lnTo>
                <a:lnTo>
                  <a:pt x="104" y="9"/>
                </a:lnTo>
                <a:lnTo>
                  <a:pt x="95" y="19"/>
                </a:lnTo>
                <a:lnTo>
                  <a:pt x="95" y="26"/>
                </a:lnTo>
                <a:lnTo>
                  <a:pt x="78" y="26"/>
                </a:lnTo>
                <a:lnTo>
                  <a:pt x="68" y="26"/>
                </a:lnTo>
                <a:lnTo>
                  <a:pt x="61" y="26"/>
                </a:lnTo>
                <a:lnTo>
                  <a:pt x="61" y="19"/>
                </a:lnTo>
                <a:lnTo>
                  <a:pt x="52" y="9"/>
                </a:lnTo>
                <a:lnTo>
                  <a:pt x="45" y="9"/>
                </a:lnTo>
                <a:lnTo>
                  <a:pt x="45" y="0"/>
                </a:lnTo>
                <a:lnTo>
                  <a:pt x="35" y="0"/>
                </a:lnTo>
                <a:lnTo>
                  <a:pt x="26" y="9"/>
                </a:lnTo>
                <a:lnTo>
                  <a:pt x="19" y="0"/>
                </a:lnTo>
                <a:lnTo>
                  <a:pt x="19" y="9"/>
                </a:lnTo>
                <a:lnTo>
                  <a:pt x="0" y="19"/>
                </a:lnTo>
                <a:lnTo>
                  <a:pt x="0" y="26"/>
                </a:lnTo>
                <a:lnTo>
                  <a:pt x="0" y="35"/>
                </a:lnTo>
                <a:lnTo>
                  <a:pt x="0" y="45"/>
                </a:lnTo>
                <a:lnTo>
                  <a:pt x="9" y="52"/>
                </a:lnTo>
                <a:lnTo>
                  <a:pt x="9" y="61"/>
                </a:lnTo>
                <a:lnTo>
                  <a:pt x="19" y="61"/>
                </a:lnTo>
                <a:lnTo>
                  <a:pt x="26" y="61"/>
                </a:lnTo>
                <a:lnTo>
                  <a:pt x="26" y="71"/>
                </a:lnTo>
                <a:lnTo>
                  <a:pt x="26" y="78"/>
                </a:lnTo>
                <a:lnTo>
                  <a:pt x="35" y="78"/>
                </a:lnTo>
                <a:lnTo>
                  <a:pt x="45" y="78"/>
                </a:lnTo>
                <a:lnTo>
                  <a:pt x="45" y="87"/>
                </a:lnTo>
                <a:lnTo>
                  <a:pt x="52" y="104"/>
                </a:lnTo>
                <a:lnTo>
                  <a:pt x="61" y="104"/>
                </a:lnTo>
                <a:lnTo>
                  <a:pt x="68" y="104"/>
                </a:lnTo>
                <a:lnTo>
                  <a:pt x="78" y="104"/>
                </a:lnTo>
                <a:lnTo>
                  <a:pt x="78" y="121"/>
                </a:lnTo>
                <a:lnTo>
                  <a:pt x="78" y="130"/>
                </a:lnTo>
                <a:lnTo>
                  <a:pt x="68" y="140"/>
                </a:lnTo>
                <a:lnTo>
                  <a:pt x="78" y="149"/>
                </a:lnTo>
                <a:lnTo>
                  <a:pt x="87" y="149"/>
                </a:lnTo>
                <a:lnTo>
                  <a:pt x="95" y="149"/>
                </a:lnTo>
                <a:lnTo>
                  <a:pt x="95" y="140"/>
                </a:lnTo>
                <a:lnTo>
                  <a:pt x="104" y="140"/>
                </a:lnTo>
                <a:lnTo>
                  <a:pt x="104" y="149"/>
                </a:lnTo>
                <a:lnTo>
                  <a:pt x="113" y="156"/>
                </a:lnTo>
                <a:lnTo>
                  <a:pt x="113" y="166"/>
                </a:lnTo>
                <a:lnTo>
                  <a:pt x="123" y="173"/>
                </a:lnTo>
                <a:lnTo>
                  <a:pt x="123" y="182"/>
                </a:lnTo>
                <a:lnTo>
                  <a:pt x="130" y="182"/>
                </a:lnTo>
                <a:lnTo>
                  <a:pt x="139" y="192"/>
                </a:lnTo>
                <a:lnTo>
                  <a:pt x="147" y="199"/>
                </a:lnTo>
                <a:lnTo>
                  <a:pt x="147" y="208"/>
                </a:lnTo>
                <a:lnTo>
                  <a:pt x="156" y="199"/>
                </a:lnTo>
                <a:lnTo>
                  <a:pt x="165" y="199"/>
                </a:lnTo>
                <a:lnTo>
                  <a:pt x="168" y="199"/>
                </a:lnTo>
                <a:lnTo>
                  <a:pt x="170" y="182"/>
                </a:lnTo>
                <a:lnTo>
                  <a:pt x="165" y="173"/>
                </a:lnTo>
                <a:lnTo>
                  <a:pt x="165" y="166"/>
                </a:lnTo>
                <a:lnTo>
                  <a:pt x="165" y="156"/>
                </a:lnTo>
                <a:lnTo>
                  <a:pt x="175" y="149"/>
                </a:lnTo>
                <a:lnTo>
                  <a:pt x="182" y="140"/>
                </a:lnTo>
                <a:lnTo>
                  <a:pt x="189" y="140"/>
                </a:lnTo>
                <a:lnTo>
                  <a:pt x="189" y="130"/>
                </a:lnTo>
                <a:lnTo>
                  <a:pt x="189" y="121"/>
                </a:lnTo>
                <a:lnTo>
                  <a:pt x="199" y="121"/>
                </a:lnTo>
                <a:lnTo>
                  <a:pt x="199" y="113"/>
                </a:lnTo>
                <a:lnTo>
                  <a:pt x="199" y="104"/>
                </a:lnTo>
                <a:lnTo>
                  <a:pt x="189" y="104"/>
                </a:lnTo>
                <a:lnTo>
                  <a:pt x="199" y="87"/>
                </a:lnTo>
                <a:lnTo>
                  <a:pt x="199" y="78"/>
                </a:lnTo>
                <a:lnTo>
                  <a:pt x="199" y="71"/>
                </a:lnTo>
                <a:lnTo>
                  <a:pt x="199" y="61"/>
                </a:lnTo>
                <a:lnTo>
                  <a:pt x="199" y="5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9" name="Freeform 528">
            <a:extLst>
              <a:ext uri="{FF2B5EF4-FFF2-40B4-BE49-F238E27FC236}">
                <a16:creationId xmlns:a16="http://schemas.microsoft.com/office/drawing/2014/main" id="{6B4901BD-D0C3-4C22-BAC1-48AAD57B065E}"/>
              </a:ext>
            </a:extLst>
          </p:cNvPr>
          <p:cNvSpPr>
            <a:spLocks/>
          </p:cNvSpPr>
          <p:nvPr/>
        </p:nvSpPr>
        <p:spPr bwMode="auto">
          <a:xfrm>
            <a:off x="1427373" y="2463376"/>
            <a:ext cx="208402" cy="191480"/>
          </a:xfrm>
          <a:custGeom>
            <a:avLst/>
            <a:gdLst>
              <a:gd name="T0" fmla="*/ 208 w 234"/>
              <a:gd name="T1" fmla="*/ 35 h 215"/>
              <a:gd name="T2" fmla="*/ 198 w 234"/>
              <a:gd name="T3" fmla="*/ 0 h 215"/>
              <a:gd name="T4" fmla="*/ 182 w 234"/>
              <a:gd name="T5" fmla="*/ 9 h 215"/>
              <a:gd name="T6" fmla="*/ 165 w 234"/>
              <a:gd name="T7" fmla="*/ 9 h 215"/>
              <a:gd name="T8" fmla="*/ 156 w 234"/>
              <a:gd name="T9" fmla="*/ 9 h 215"/>
              <a:gd name="T10" fmla="*/ 137 w 234"/>
              <a:gd name="T11" fmla="*/ 9 h 215"/>
              <a:gd name="T12" fmla="*/ 111 w 234"/>
              <a:gd name="T13" fmla="*/ 26 h 215"/>
              <a:gd name="T14" fmla="*/ 111 w 234"/>
              <a:gd name="T15" fmla="*/ 43 h 215"/>
              <a:gd name="T16" fmla="*/ 111 w 234"/>
              <a:gd name="T17" fmla="*/ 62 h 215"/>
              <a:gd name="T18" fmla="*/ 94 w 234"/>
              <a:gd name="T19" fmla="*/ 95 h 215"/>
              <a:gd name="T20" fmla="*/ 78 w 234"/>
              <a:gd name="T21" fmla="*/ 95 h 215"/>
              <a:gd name="T22" fmla="*/ 87 w 234"/>
              <a:gd name="T23" fmla="*/ 69 h 215"/>
              <a:gd name="T24" fmla="*/ 87 w 234"/>
              <a:gd name="T25" fmla="*/ 62 h 215"/>
              <a:gd name="T26" fmla="*/ 94 w 234"/>
              <a:gd name="T27" fmla="*/ 43 h 215"/>
              <a:gd name="T28" fmla="*/ 68 w 234"/>
              <a:gd name="T29" fmla="*/ 35 h 215"/>
              <a:gd name="T30" fmla="*/ 68 w 234"/>
              <a:gd name="T31" fmla="*/ 35 h 215"/>
              <a:gd name="T32" fmla="*/ 61 w 234"/>
              <a:gd name="T33" fmla="*/ 69 h 215"/>
              <a:gd name="T34" fmla="*/ 52 w 234"/>
              <a:gd name="T35" fmla="*/ 88 h 215"/>
              <a:gd name="T36" fmla="*/ 42 w 234"/>
              <a:gd name="T37" fmla="*/ 95 h 215"/>
              <a:gd name="T38" fmla="*/ 16 w 234"/>
              <a:gd name="T39" fmla="*/ 104 h 215"/>
              <a:gd name="T40" fmla="*/ 26 w 234"/>
              <a:gd name="T41" fmla="*/ 121 h 215"/>
              <a:gd name="T42" fmla="*/ 9 w 234"/>
              <a:gd name="T43" fmla="*/ 137 h 215"/>
              <a:gd name="T44" fmla="*/ 0 w 234"/>
              <a:gd name="T45" fmla="*/ 121 h 215"/>
              <a:gd name="T46" fmla="*/ 0 w 234"/>
              <a:gd name="T47" fmla="*/ 137 h 215"/>
              <a:gd name="T48" fmla="*/ 9 w 234"/>
              <a:gd name="T49" fmla="*/ 156 h 215"/>
              <a:gd name="T50" fmla="*/ 42 w 234"/>
              <a:gd name="T51" fmla="*/ 173 h 215"/>
              <a:gd name="T52" fmla="*/ 52 w 234"/>
              <a:gd name="T53" fmla="*/ 182 h 215"/>
              <a:gd name="T54" fmla="*/ 68 w 234"/>
              <a:gd name="T55" fmla="*/ 173 h 215"/>
              <a:gd name="T56" fmla="*/ 87 w 234"/>
              <a:gd name="T57" fmla="*/ 189 h 215"/>
              <a:gd name="T58" fmla="*/ 104 w 234"/>
              <a:gd name="T59" fmla="*/ 215 h 215"/>
              <a:gd name="T60" fmla="*/ 120 w 234"/>
              <a:gd name="T61" fmla="*/ 199 h 215"/>
              <a:gd name="T62" fmla="*/ 120 w 234"/>
              <a:gd name="T63" fmla="*/ 173 h 215"/>
              <a:gd name="T64" fmla="*/ 137 w 234"/>
              <a:gd name="T65" fmla="*/ 156 h 215"/>
              <a:gd name="T66" fmla="*/ 172 w 234"/>
              <a:gd name="T67" fmla="*/ 156 h 215"/>
              <a:gd name="T68" fmla="*/ 189 w 234"/>
              <a:gd name="T69" fmla="*/ 156 h 215"/>
              <a:gd name="T70" fmla="*/ 208 w 234"/>
              <a:gd name="T71" fmla="*/ 156 h 215"/>
              <a:gd name="T72" fmla="*/ 215 w 234"/>
              <a:gd name="T73" fmla="*/ 121 h 215"/>
              <a:gd name="T74" fmla="*/ 215 w 234"/>
              <a:gd name="T75" fmla="*/ 104 h 215"/>
              <a:gd name="T76" fmla="*/ 215 w 234"/>
              <a:gd name="T77" fmla="*/ 78 h 215"/>
              <a:gd name="T78" fmla="*/ 224 w 234"/>
              <a:gd name="T79" fmla="*/ 69 h 215"/>
              <a:gd name="T80" fmla="*/ 224 w 234"/>
              <a:gd name="T81" fmla="*/ 52 h 215"/>
              <a:gd name="T82" fmla="*/ 234 w 234"/>
              <a:gd name="T83" fmla="*/ 35 h 215"/>
              <a:gd name="T84" fmla="*/ 215 w 234"/>
              <a:gd name="T85" fmla="*/ 35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4" h="215">
                <a:moveTo>
                  <a:pt x="215" y="35"/>
                </a:moveTo>
                <a:lnTo>
                  <a:pt x="208" y="35"/>
                </a:lnTo>
                <a:lnTo>
                  <a:pt x="208" y="0"/>
                </a:lnTo>
                <a:lnTo>
                  <a:pt x="198" y="0"/>
                </a:lnTo>
                <a:lnTo>
                  <a:pt x="189" y="0"/>
                </a:lnTo>
                <a:lnTo>
                  <a:pt x="182" y="9"/>
                </a:lnTo>
                <a:lnTo>
                  <a:pt x="165" y="19"/>
                </a:lnTo>
                <a:lnTo>
                  <a:pt x="165" y="9"/>
                </a:lnTo>
                <a:lnTo>
                  <a:pt x="165" y="0"/>
                </a:lnTo>
                <a:lnTo>
                  <a:pt x="156" y="9"/>
                </a:lnTo>
                <a:lnTo>
                  <a:pt x="146" y="9"/>
                </a:lnTo>
                <a:lnTo>
                  <a:pt x="137" y="9"/>
                </a:lnTo>
                <a:lnTo>
                  <a:pt x="120" y="19"/>
                </a:lnTo>
                <a:lnTo>
                  <a:pt x="111" y="26"/>
                </a:lnTo>
                <a:lnTo>
                  <a:pt x="111" y="35"/>
                </a:lnTo>
                <a:lnTo>
                  <a:pt x="111" y="43"/>
                </a:lnTo>
                <a:lnTo>
                  <a:pt x="111" y="52"/>
                </a:lnTo>
                <a:lnTo>
                  <a:pt x="111" y="62"/>
                </a:lnTo>
                <a:lnTo>
                  <a:pt x="111" y="78"/>
                </a:lnTo>
                <a:lnTo>
                  <a:pt x="94" y="95"/>
                </a:lnTo>
                <a:lnTo>
                  <a:pt x="87" y="95"/>
                </a:lnTo>
                <a:lnTo>
                  <a:pt x="78" y="95"/>
                </a:lnTo>
                <a:lnTo>
                  <a:pt x="78" y="78"/>
                </a:lnTo>
                <a:lnTo>
                  <a:pt x="87" y="69"/>
                </a:lnTo>
                <a:lnTo>
                  <a:pt x="78" y="69"/>
                </a:lnTo>
                <a:lnTo>
                  <a:pt x="87" y="62"/>
                </a:lnTo>
                <a:lnTo>
                  <a:pt x="94" y="52"/>
                </a:lnTo>
                <a:lnTo>
                  <a:pt x="94" y="43"/>
                </a:lnTo>
                <a:lnTo>
                  <a:pt x="87" y="35"/>
                </a:lnTo>
                <a:lnTo>
                  <a:pt x="68" y="35"/>
                </a:lnTo>
                <a:lnTo>
                  <a:pt x="68" y="26"/>
                </a:lnTo>
                <a:lnTo>
                  <a:pt x="68" y="35"/>
                </a:lnTo>
                <a:lnTo>
                  <a:pt x="61" y="52"/>
                </a:lnTo>
                <a:lnTo>
                  <a:pt x="61" y="69"/>
                </a:lnTo>
                <a:lnTo>
                  <a:pt x="52" y="78"/>
                </a:lnTo>
                <a:lnTo>
                  <a:pt x="52" y="88"/>
                </a:lnTo>
                <a:lnTo>
                  <a:pt x="42" y="88"/>
                </a:lnTo>
                <a:lnTo>
                  <a:pt x="42" y="95"/>
                </a:lnTo>
                <a:lnTo>
                  <a:pt x="35" y="104"/>
                </a:lnTo>
                <a:lnTo>
                  <a:pt x="16" y="104"/>
                </a:lnTo>
                <a:lnTo>
                  <a:pt x="16" y="121"/>
                </a:lnTo>
                <a:lnTo>
                  <a:pt x="26" y="121"/>
                </a:lnTo>
                <a:lnTo>
                  <a:pt x="26" y="130"/>
                </a:lnTo>
                <a:lnTo>
                  <a:pt x="9" y="137"/>
                </a:lnTo>
                <a:lnTo>
                  <a:pt x="9" y="121"/>
                </a:lnTo>
                <a:lnTo>
                  <a:pt x="0" y="121"/>
                </a:lnTo>
                <a:lnTo>
                  <a:pt x="0" y="130"/>
                </a:lnTo>
                <a:lnTo>
                  <a:pt x="0" y="137"/>
                </a:lnTo>
                <a:lnTo>
                  <a:pt x="0" y="156"/>
                </a:lnTo>
                <a:lnTo>
                  <a:pt x="9" y="156"/>
                </a:lnTo>
                <a:lnTo>
                  <a:pt x="16" y="163"/>
                </a:lnTo>
                <a:lnTo>
                  <a:pt x="42" y="173"/>
                </a:lnTo>
                <a:lnTo>
                  <a:pt x="42" y="182"/>
                </a:lnTo>
                <a:lnTo>
                  <a:pt x="52" y="182"/>
                </a:lnTo>
                <a:lnTo>
                  <a:pt x="61" y="173"/>
                </a:lnTo>
                <a:lnTo>
                  <a:pt x="68" y="173"/>
                </a:lnTo>
                <a:lnTo>
                  <a:pt x="78" y="182"/>
                </a:lnTo>
                <a:lnTo>
                  <a:pt x="87" y="189"/>
                </a:lnTo>
                <a:lnTo>
                  <a:pt x="104" y="208"/>
                </a:lnTo>
                <a:lnTo>
                  <a:pt x="104" y="215"/>
                </a:lnTo>
                <a:lnTo>
                  <a:pt x="120" y="208"/>
                </a:lnTo>
                <a:lnTo>
                  <a:pt x="120" y="199"/>
                </a:lnTo>
                <a:lnTo>
                  <a:pt x="120" y="182"/>
                </a:lnTo>
                <a:lnTo>
                  <a:pt x="120" y="173"/>
                </a:lnTo>
                <a:lnTo>
                  <a:pt x="120" y="163"/>
                </a:lnTo>
                <a:lnTo>
                  <a:pt x="137" y="156"/>
                </a:lnTo>
                <a:lnTo>
                  <a:pt x="165" y="147"/>
                </a:lnTo>
                <a:lnTo>
                  <a:pt x="172" y="156"/>
                </a:lnTo>
                <a:lnTo>
                  <a:pt x="182" y="156"/>
                </a:lnTo>
                <a:lnTo>
                  <a:pt x="189" y="156"/>
                </a:lnTo>
                <a:lnTo>
                  <a:pt x="198" y="156"/>
                </a:lnTo>
                <a:lnTo>
                  <a:pt x="208" y="156"/>
                </a:lnTo>
                <a:lnTo>
                  <a:pt x="215" y="130"/>
                </a:lnTo>
                <a:lnTo>
                  <a:pt x="215" y="121"/>
                </a:lnTo>
                <a:lnTo>
                  <a:pt x="208" y="114"/>
                </a:lnTo>
                <a:lnTo>
                  <a:pt x="215" y="104"/>
                </a:lnTo>
                <a:lnTo>
                  <a:pt x="215" y="95"/>
                </a:lnTo>
                <a:lnTo>
                  <a:pt x="215" y="78"/>
                </a:lnTo>
                <a:lnTo>
                  <a:pt x="215" y="69"/>
                </a:lnTo>
                <a:lnTo>
                  <a:pt x="224" y="69"/>
                </a:lnTo>
                <a:lnTo>
                  <a:pt x="224" y="62"/>
                </a:lnTo>
                <a:lnTo>
                  <a:pt x="224" y="52"/>
                </a:lnTo>
                <a:lnTo>
                  <a:pt x="224" y="43"/>
                </a:lnTo>
                <a:lnTo>
                  <a:pt x="234" y="35"/>
                </a:lnTo>
                <a:lnTo>
                  <a:pt x="224" y="26"/>
                </a:lnTo>
                <a:lnTo>
                  <a:pt x="215" y="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0" name="Freeform 529">
            <a:extLst>
              <a:ext uri="{FF2B5EF4-FFF2-40B4-BE49-F238E27FC236}">
                <a16:creationId xmlns:a16="http://schemas.microsoft.com/office/drawing/2014/main" id="{A8306993-A7E3-422A-B5F7-1E0E12E9C360}"/>
              </a:ext>
            </a:extLst>
          </p:cNvPr>
          <p:cNvSpPr>
            <a:spLocks/>
          </p:cNvSpPr>
          <p:nvPr/>
        </p:nvSpPr>
        <p:spPr bwMode="auto">
          <a:xfrm>
            <a:off x="1739081" y="2138304"/>
            <a:ext cx="122013" cy="76592"/>
          </a:xfrm>
          <a:custGeom>
            <a:avLst/>
            <a:gdLst>
              <a:gd name="T0" fmla="*/ 9 w 137"/>
              <a:gd name="T1" fmla="*/ 86 h 86"/>
              <a:gd name="T2" fmla="*/ 9 w 137"/>
              <a:gd name="T3" fmla="*/ 79 h 86"/>
              <a:gd name="T4" fmla="*/ 9 w 137"/>
              <a:gd name="T5" fmla="*/ 69 h 86"/>
              <a:gd name="T6" fmla="*/ 16 w 137"/>
              <a:gd name="T7" fmla="*/ 60 h 86"/>
              <a:gd name="T8" fmla="*/ 23 w 137"/>
              <a:gd name="T9" fmla="*/ 60 h 86"/>
              <a:gd name="T10" fmla="*/ 33 w 137"/>
              <a:gd name="T11" fmla="*/ 60 h 86"/>
              <a:gd name="T12" fmla="*/ 42 w 137"/>
              <a:gd name="T13" fmla="*/ 60 h 86"/>
              <a:gd name="T14" fmla="*/ 52 w 137"/>
              <a:gd name="T15" fmla="*/ 60 h 86"/>
              <a:gd name="T16" fmla="*/ 59 w 137"/>
              <a:gd name="T17" fmla="*/ 60 h 86"/>
              <a:gd name="T18" fmla="*/ 68 w 137"/>
              <a:gd name="T19" fmla="*/ 53 h 86"/>
              <a:gd name="T20" fmla="*/ 78 w 137"/>
              <a:gd name="T21" fmla="*/ 53 h 86"/>
              <a:gd name="T22" fmla="*/ 94 w 137"/>
              <a:gd name="T23" fmla="*/ 53 h 86"/>
              <a:gd name="T24" fmla="*/ 104 w 137"/>
              <a:gd name="T25" fmla="*/ 60 h 86"/>
              <a:gd name="T26" fmla="*/ 111 w 137"/>
              <a:gd name="T27" fmla="*/ 69 h 86"/>
              <a:gd name="T28" fmla="*/ 111 w 137"/>
              <a:gd name="T29" fmla="*/ 60 h 86"/>
              <a:gd name="T30" fmla="*/ 120 w 137"/>
              <a:gd name="T31" fmla="*/ 53 h 86"/>
              <a:gd name="T32" fmla="*/ 130 w 137"/>
              <a:gd name="T33" fmla="*/ 43 h 86"/>
              <a:gd name="T34" fmla="*/ 130 w 137"/>
              <a:gd name="T35" fmla="*/ 27 h 86"/>
              <a:gd name="T36" fmla="*/ 120 w 137"/>
              <a:gd name="T37" fmla="*/ 27 h 86"/>
              <a:gd name="T38" fmla="*/ 120 w 137"/>
              <a:gd name="T39" fmla="*/ 17 h 86"/>
              <a:gd name="T40" fmla="*/ 130 w 137"/>
              <a:gd name="T41" fmla="*/ 8 h 86"/>
              <a:gd name="T42" fmla="*/ 137 w 137"/>
              <a:gd name="T43" fmla="*/ 0 h 86"/>
              <a:gd name="T44" fmla="*/ 130 w 137"/>
              <a:gd name="T45" fmla="*/ 0 h 86"/>
              <a:gd name="T46" fmla="*/ 120 w 137"/>
              <a:gd name="T47" fmla="*/ 8 h 86"/>
              <a:gd name="T48" fmla="*/ 111 w 137"/>
              <a:gd name="T49" fmla="*/ 8 h 86"/>
              <a:gd name="T50" fmla="*/ 104 w 137"/>
              <a:gd name="T51" fmla="*/ 8 h 86"/>
              <a:gd name="T52" fmla="*/ 94 w 137"/>
              <a:gd name="T53" fmla="*/ 17 h 86"/>
              <a:gd name="T54" fmla="*/ 85 w 137"/>
              <a:gd name="T55" fmla="*/ 17 h 86"/>
              <a:gd name="T56" fmla="*/ 78 w 137"/>
              <a:gd name="T57" fmla="*/ 27 h 86"/>
              <a:gd name="T58" fmla="*/ 68 w 137"/>
              <a:gd name="T59" fmla="*/ 34 h 86"/>
              <a:gd name="T60" fmla="*/ 68 w 137"/>
              <a:gd name="T61" fmla="*/ 43 h 86"/>
              <a:gd name="T62" fmla="*/ 59 w 137"/>
              <a:gd name="T63" fmla="*/ 53 h 86"/>
              <a:gd name="T64" fmla="*/ 52 w 137"/>
              <a:gd name="T65" fmla="*/ 53 h 86"/>
              <a:gd name="T66" fmla="*/ 42 w 137"/>
              <a:gd name="T67" fmla="*/ 53 h 86"/>
              <a:gd name="T68" fmla="*/ 16 w 137"/>
              <a:gd name="T69" fmla="*/ 53 h 86"/>
              <a:gd name="T70" fmla="*/ 9 w 137"/>
              <a:gd name="T71" fmla="*/ 53 h 86"/>
              <a:gd name="T72" fmla="*/ 0 w 137"/>
              <a:gd name="T73" fmla="*/ 60 h 86"/>
              <a:gd name="T74" fmla="*/ 0 w 137"/>
              <a:gd name="T75" fmla="*/ 69 h 86"/>
              <a:gd name="T76" fmla="*/ 9 w 137"/>
              <a:gd name="T77" fmla="*/ 86 h 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37" h="86">
                <a:moveTo>
                  <a:pt x="9" y="86"/>
                </a:moveTo>
                <a:lnTo>
                  <a:pt x="9" y="79"/>
                </a:lnTo>
                <a:lnTo>
                  <a:pt x="9" y="69"/>
                </a:lnTo>
                <a:lnTo>
                  <a:pt x="16" y="60"/>
                </a:lnTo>
                <a:lnTo>
                  <a:pt x="23" y="60"/>
                </a:lnTo>
                <a:lnTo>
                  <a:pt x="33" y="60"/>
                </a:lnTo>
                <a:lnTo>
                  <a:pt x="42" y="60"/>
                </a:lnTo>
                <a:lnTo>
                  <a:pt x="52" y="60"/>
                </a:lnTo>
                <a:lnTo>
                  <a:pt x="59" y="60"/>
                </a:lnTo>
                <a:lnTo>
                  <a:pt x="68" y="53"/>
                </a:lnTo>
                <a:lnTo>
                  <a:pt x="78" y="53"/>
                </a:lnTo>
                <a:lnTo>
                  <a:pt x="94" y="53"/>
                </a:lnTo>
                <a:lnTo>
                  <a:pt x="104" y="60"/>
                </a:lnTo>
                <a:lnTo>
                  <a:pt x="111" y="69"/>
                </a:lnTo>
                <a:lnTo>
                  <a:pt x="111" y="60"/>
                </a:lnTo>
                <a:lnTo>
                  <a:pt x="120" y="53"/>
                </a:lnTo>
                <a:lnTo>
                  <a:pt x="130" y="43"/>
                </a:lnTo>
                <a:lnTo>
                  <a:pt x="130" y="27"/>
                </a:lnTo>
                <a:lnTo>
                  <a:pt x="120" y="27"/>
                </a:lnTo>
                <a:lnTo>
                  <a:pt x="120" y="17"/>
                </a:lnTo>
                <a:lnTo>
                  <a:pt x="130" y="8"/>
                </a:lnTo>
                <a:lnTo>
                  <a:pt x="137" y="0"/>
                </a:lnTo>
                <a:lnTo>
                  <a:pt x="130" y="0"/>
                </a:lnTo>
                <a:lnTo>
                  <a:pt x="120" y="8"/>
                </a:lnTo>
                <a:lnTo>
                  <a:pt x="111" y="8"/>
                </a:lnTo>
                <a:lnTo>
                  <a:pt x="104" y="8"/>
                </a:lnTo>
                <a:lnTo>
                  <a:pt x="94" y="17"/>
                </a:lnTo>
                <a:lnTo>
                  <a:pt x="85" y="17"/>
                </a:lnTo>
                <a:lnTo>
                  <a:pt x="78" y="27"/>
                </a:lnTo>
                <a:lnTo>
                  <a:pt x="68" y="34"/>
                </a:lnTo>
                <a:lnTo>
                  <a:pt x="68" y="43"/>
                </a:lnTo>
                <a:lnTo>
                  <a:pt x="59" y="53"/>
                </a:lnTo>
                <a:lnTo>
                  <a:pt x="52" y="53"/>
                </a:lnTo>
                <a:lnTo>
                  <a:pt x="42" y="53"/>
                </a:lnTo>
                <a:lnTo>
                  <a:pt x="16" y="53"/>
                </a:lnTo>
                <a:lnTo>
                  <a:pt x="9" y="53"/>
                </a:lnTo>
                <a:lnTo>
                  <a:pt x="0" y="60"/>
                </a:lnTo>
                <a:lnTo>
                  <a:pt x="0" y="69"/>
                </a:lnTo>
                <a:lnTo>
                  <a:pt x="9" y="8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1" name="Freeform 531">
            <a:extLst>
              <a:ext uri="{FF2B5EF4-FFF2-40B4-BE49-F238E27FC236}">
                <a16:creationId xmlns:a16="http://schemas.microsoft.com/office/drawing/2014/main" id="{1E8585F2-5FE1-4982-B041-529607BFDF9F}"/>
              </a:ext>
            </a:extLst>
          </p:cNvPr>
          <p:cNvSpPr>
            <a:spLocks/>
          </p:cNvSpPr>
          <p:nvPr/>
        </p:nvSpPr>
        <p:spPr bwMode="auto">
          <a:xfrm>
            <a:off x="1842395" y="2284362"/>
            <a:ext cx="77483" cy="90842"/>
          </a:xfrm>
          <a:custGeom>
            <a:avLst/>
            <a:gdLst>
              <a:gd name="T0" fmla="*/ 45 w 87"/>
              <a:gd name="T1" fmla="*/ 102 h 102"/>
              <a:gd name="T2" fmla="*/ 26 w 87"/>
              <a:gd name="T3" fmla="*/ 94 h 102"/>
              <a:gd name="T4" fmla="*/ 35 w 87"/>
              <a:gd name="T5" fmla="*/ 94 h 102"/>
              <a:gd name="T6" fmla="*/ 35 w 87"/>
              <a:gd name="T7" fmla="*/ 85 h 102"/>
              <a:gd name="T8" fmla="*/ 26 w 87"/>
              <a:gd name="T9" fmla="*/ 85 h 102"/>
              <a:gd name="T10" fmla="*/ 9 w 87"/>
              <a:gd name="T11" fmla="*/ 85 h 102"/>
              <a:gd name="T12" fmla="*/ 0 w 87"/>
              <a:gd name="T13" fmla="*/ 76 h 102"/>
              <a:gd name="T14" fmla="*/ 0 w 87"/>
              <a:gd name="T15" fmla="*/ 68 h 102"/>
              <a:gd name="T16" fmla="*/ 9 w 87"/>
              <a:gd name="T17" fmla="*/ 59 h 102"/>
              <a:gd name="T18" fmla="*/ 0 w 87"/>
              <a:gd name="T19" fmla="*/ 52 h 102"/>
              <a:gd name="T20" fmla="*/ 0 w 87"/>
              <a:gd name="T21" fmla="*/ 42 h 102"/>
              <a:gd name="T22" fmla="*/ 9 w 87"/>
              <a:gd name="T23" fmla="*/ 33 h 102"/>
              <a:gd name="T24" fmla="*/ 18 w 87"/>
              <a:gd name="T25" fmla="*/ 33 h 102"/>
              <a:gd name="T26" fmla="*/ 26 w 87"/>
              <a:gd name="T27" fmla="*/ 26 h 102"/>
              <a:gd name="T28" fmla="*/ 26 w 87"/>
              <a:gd name="T29" fmla="*/ 16 h 102"/>
              <a:gd name="T30" fmla="*/ 35 w 87"/>
              <a:gd name="T31" fmla="*/ 16 h 102"/>
              <a:gd name="T32" fmla="*/ 35 w 87"/>
              <a:gd name="T33" fmla="*/ 26 h 102"/>
              <a:gd name="T34" fmla="*/ 26 w 87"/>
              <a:gd name="T35" fmla="*/ 33 h 102"/>
              <a:gd name="T36" fmla="*/ 35 w 87"/>
              <a:gd name="T37" fmla="*/ 42 h 102"/>
              <a:gd name="T38" fmla="*/ 45 w 87"/>
              <a:gd name="T39" fmla="*/ 42 h 102"/>
              <a:gd name="T40" fmla="*/ 45 w 87"/>
              <a:gd name="T41" fmla="*/ 33 h 102"/>
              <a:gd name="T42" fmla="*/ 45 w 87"/>
              <a:gd name="T43" fmla="*/ 26 h 102"/>
              <a:gd name="T44" fmla="*/ 52 w 87"/>
              <a:gd name="T45" fmla="*/ 26 h 102"/>
              <a:gd name="T46" fmla="*/ 61 w 87"/>
              <a:gd name="T47" fmla="*/ 26 h 102"/>
              <a:gd name="T48" fmla="*/ 71 w 87"/>
              <a:gd name="T49" fmla="*/ 16 h 102"/>
              <a:gd name="T50" fmla="*/ 61 w 87"/>
              <a:gd name="T51" fmla="*/ 7 h 102"/>
              <a:gd name="T52" fmla="*/ 52 w 87"/>
              <a:gd name="T53" fmla="*/ 7 h 102"/>
              <a:gd name="T54" fmla="*/ 61 w 87"/>
              <a:gd name="T55" fmla="*/ 0 h 102"/>
              <a:gd name="T56" fmla="*/ 71 w 87"/>
              <a:gd name="T57" fmla="*/ 0 h 102"/>
              <a:gd name="T58" fmla="*/ 87 w 87"/>
              <a:gd name="T59" fmla="*/ 0 h 102"/>
              <a:gd name="T60" fmla="*/ 78 w 87"/>
              <a:gd name="T61" fmla="*/ 7 h 102"/>
              <a:gd name="T62" fmla="*/ 87 w 87"/>
              <a:gd name="T63" fmla="*/ 7 h 102"/>
              <a:gd name="T64" fmla="*/ 78 w 87"/>
              <a:gd name="T65" fmla="*/ 16 h 102"/>
              <a:gd name="T66" fmla="*/ 87 w 87"/>
              <a:gd name="T67" fmla="*/ 33 h 102"/>
              <a:gd name="T68" fmla="*/ 78 w 87"/>
              <a:gd name="T69" fmla="*/ 42 h 102"/>
              <a:gd name="T70" fmla="*/ 61 w 87"/>
              <a:gd name="T71" fmla="*/ 59 h 102"/>
              <a:gd name="T72" fmla="*/ 71 w 87"/>
              <a:gd name="T73" fmla="*/ 68 h 102"/>
              <a:gd name="T74" fmla="*/ 61 w 87"/>
              <a:gd name="T75" fmla="*/ 85 h 102"/>
              <a:gd name="T76" fmla="*/ 52 w 87"/>
              <a:gd name="T77" fmla="*/ 85 h 102"/>
              <a:gd name="T78" fmla="*/ 45 w 87"/>
              <a:gd name="T79" fmla="*/ 94 h 102"/>
              <a:gd name="T80" fmla="*/ 52 w 87"/>
              <a:gd name="T81" fmla="*/ 102 h 102"/>
              <a:gd name="T82" fmla="*/ 45 w 87"/>
              <a:gd name="T83" fmla="*/ 102 h 1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7" h="102">
                <a:moveTo>
                  <a:pt x="45" y="102"/>
                </a:moveTo>
                <a:lnTo>
                  <a:pt x="26" y="94"/>
                </a:lnTo>
                <a:lnTo>
                  <a:pt x="35" y="94"/>
                </a:lnTo>
                <a:lnTo>
                  <a:pt x="35" y="85"/>
                </a:lnTo>
                <a:lnTo>
                  <a:pt x="26" y="85"/>
                </a:lnTo>
                <a:lnTo>
                  <a:pt x="9" y="85"/>
                </a:lnTo>
                <a:lnTo>
                  <a:pt x="0" y="76"/>
                </a:lnTo>
                <a:lnTo>
                  <a:pt x="0" y="68"/>
                </a:lnTo>
                <a:lnTo>
                  <a:pt x="9" y="59"/>
                </a:lnTo>
                <a:lnTo>
                  <a:pt x="0" y="52"/>
                </a:lnTo>
                <a:lnTo>
                  <a:pt x="0" y="42"/>
                </a:lnTo>
                <a:lnTo>
                  <a:pt x="9" y="33"/>
                </a:lnTo>
                <a:lnTo>
                  <a:pt x="18" y="33"/>
                </a:lnTo>
                <a:lnTo>
                  <a:pt x="26" y="26"/>
                </a:lnTo>
                <a:lnTo>
                  <a:pt x="26" y="16"/>
                </a:lnTo>
                <a:lnTo>
                  <a:pt x="35" y="16"/>
                </a:lnTo>
                <a:lnTo>
                  <a:pt x="35" y="26"/>
                </a:lnTo>
                <a:lnTo>
                  <a:pt x="26" y="33"/>
                </a:lnTo>
                <a:lnTo>
                  <a:pt x="35" y="42"/>
                </a:lnTo>
                <a:lnTo>
                  <a:pt x="45" y="42"/>
                </a:lnTo>
                <a:lnTo>
                  <a:pt x="45" y="33"/>
                </a:lnTo>
                <a:lnTo>
                  <a:pt x="45" y="26"/>
                </a:lnTo>
                <a:lnTo>
                  <a:pt x="52" y="26"/>
                </a:lnTo>
                <a:lnTo>
                  <a:pt x="61" y="26"/>
                </a:lnTo>
                <a:lnTo>
                  <a:pt x="71" y="16"/>
                </a:lnTo>
                <a:lnTo>
                  <a:pt x="61" y="7"/>
                </a:lnTo>
                <a:lnTo>
                  <a:pt x="52" y="7"/>
                </a:lnTo>
                <a:lnTo>
                  <a:pt x="61" y="0"/>
                </a:lnTo>
                <a:lnTo>
                  <a:pt x="71" y="0"/>
                </a:lnTo>
                <a:lnTo>
                  <a:pt x="87" y="0"/>
                </a:lnTo>
                <a:lnTo>
                  <a:pt x="78" y="7"/>
                </a:lnTo>
                <a:lnTo>
                  <a:pt x="87" y="7"/>
                </a:lnTo>
                <a:lnTo>
                  <a:pt x="78" y="16"/>
                </a:lnTo>
                <a:lnTo>
                  <a:pt x="87" y="33"/>
                </a:lnTo>
                <a:lnTo>
                  <a:pt x="78" y="42"/>
                </a:lnTo>
                <a:lnTo>
                  <a:pt x="61" y="59"/>
                </a:lnTo>
                <a:lnTo>
                  <a:pt x="71" y="68"/>
                </a:lnTo>
                <a:lnTo>
                  <a:pt x="61" y="85"/>
                </a:lnTo>
                <a:lnTo>
                  <a:pt x="52" y="85"/>
                </a:lnTo>
                <a:lnTo>
                  <a:pt x="45" y="94"/>
                </a:lnTo>
                <a:lnTo>
                  <a:pt x="52" y="102"/>
                </a:lnTo>
                <a:lnTo>
                  <a:pt x="45" y="1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2" name="Freeform 534">
            <a:extLst>
              <a:ext uri="{FF2B5EF4-FFF2-40B4-BE49-F238E27FC236}">
                <a16:creationId xmlns:a16="http://schemas.microsoft.com/office/drawing/2014/main" id="{634D6FA2-9091-4D3B-9B40-6F4D807E31DE}"/>
              </a:ext>
            </a:extLst>
          </p:cNvPr>
          <p:cNvSpPr>
            <a:spLocks/>
          </p:cNvSpPr>
          <p:nvPr/>
        </p:nvSpPr>
        <p:spPr bwMode="auto">
          <a:xfrm>
            <a:off x="1844176" y="2708287"/>
            <a:ext cx="589580" cy="285884"/>
          </a:xfrm>
          <a:custGeom>
            <a:avLst/>
            <a:gdLst>
              <a:gd name="T0" fmla="*/ 636 w 662"/>
              <a:gd name="T1" fmla="*/ 234 h 321"/>
              <a:gd name="T2" fmla="*/ 651 w 662"/>
              <a:gd name="T3" fmla="*/ 215 h 321"/>
              <a:gd name="T4" fmla="*/ 662 w 662"/>
              <a:gd name="T5" fmla="*/ 194 h 321"/>
              <a:gd name="T6" fmla="*/ 639 w 662"/>
              <a:gd name="T7" fmla="*/ 179 h 321"/>
              <a:gd name="T8" fmla="*/ 613 w 662"/>
              <a:gd name="T9" fmla="*/ 163 h 321"/>
              <a:gd name="T10" fmla="*/ 587 w 662"/>
              <a:gd name="T11" fmla="*/ 134 h 321"/>
              <a:gd name="T12" fmla="*/ 544 w 662"/>
              <a:gd name="T13" fmla="*/ 163 h 321"/>
              <a:gd name="T14" fmla="*/ 535 w 662"/>
              <a:gd name="T15" fmla="*/ 142 h 321"/>
              <a:gd name="T16" fmla="*/ 501 w 662"/>
              <a:gd name="T17" fmla="*/ 146 h 321"/>
              <a:gd name="T18" fmla="*/ 492 w 662"/>
              <a:gd name="T19" fmla="*/ 146 h 321"/>
              <a:gd name="T20" fmla="*/ 466 w 662"/>
              <a:gd name="T21" fmla="*/ 146 h 321"/>
              <a:gd name="T22" fmla="*/ 430 w 662"/>
              <a:gd name="T23" fmla="*/ 146 h 321"/>
              <a:gd name="T24" fmla="*/ 404 w 662"/>
              <a:gd name="T25" fmla="*/ 120 h 321"/>
              <a:gd name="T26" fmla="*/ 362 w 662"/>
              <a:gd name="T27" fmla="*/ 101 h 321"/>
              <a:gd name="T28" fmla="*/ 329 w 662"/>
              <a:gd name="T29" fmla="*/ 78 h 321"/>
              <a:gd name="T30" fmla="*/ 310 w 662"/>
              <a:gd name="T31" fmla="*/ 85 h 321"/>
              <a:gd name="T32" fmla="*/ 293 w 662"/>
              <a:gd name="T33" fmla="*/ 101 h 321"/>
              <a:gd name="T34" fmla="*/ 258 w 662"/>
              <a:gd name="T35" fmla="*/ 78 h 321"/>
              <a:gd name="T36" fmla="*/ 267 w 662"/>
              <a:gd name="T37" fmla="*/ 52 h 321"/>
              <a:gd name="T38" fmla="*/ 225 w 662"/>
              <a:gd name="T39" fmla="*/ 42 h 321"/>
              <a:gd name="T40" fmla="*/ 206 w 662"/>
              <a:gd name="T41" fmla="*/ 26 h 321"/>
              <a:gd name="T42" fmla="*/ 199 w 662"/>
              <a:gd name="T43" fmla="*/ 0 h 321"/>
              <a:gd name="T44" fmla="*/ 173 w 662"/>
              <a:gd name="T45" fmla="*/ 16 h 321"/>
              <a:gd name="T46" fmla="*/ 156 w 662"/>
              <a:gd name="T47" fmla="*/ 0 h 321"/>
              <a:gd name="T48" fmla="*/ 121 w 662"/>
              <a:gd name="T49" fmla="*/ 26 h 321"/>
              <a:gd name="T50" fmla="*/ 76 w 662"/>
              <a:gd name="T51" fmla="*/ 52 h 321"/>
              <a:gd name="T52" fmla="*/ 33 w 662"/>
              <a:gd name="T53" fmla="*/ 59 h 321"/>
              <a:gd name="T54" fmla="*/ 7 w 662"/>
              <a:gd name="T55" fmla="*/ 52 h 321"/>
              <a:gd name="T56" fmla="*/ 7 w 662"/>
              <a:gd name="T57" fmla="*/ 78 h 321"/>
              <a:gd name="T58" fmla="*/ 26 w 662"/>
              <a:gd name="T59" fmla="*/ 101 h 321"/>
              <a:gd name="T60" fmla="*/ 33 w 662"/>
              <a:gd name="T61" fmla="*/ 137 h 321"/>
              <a:gd name="T62" fmla="*/ 61 w 662"/>
              <a:gd name="T63" fmla="*/ 179 h 321"/>
              <a:gd name="T64" fmla="*/ 83 w 662"/>
              <a:gd name="T65" fmla="*/ 198 h 321"/>
              <a:gd name="T66" fmla="*/ 102 w 662"/>
              <a:gd name="T67" fmla="*/ 224 h 321"/>
              <a:gd name="T68" fmla="*/ 137 w 662"/>
              <a:gd name="T69" fmla="*/ 232 h 321"/>
              <a:gd name="T70" fmla="*/ 163 w 662"/>
              <a:gd name="T71" fmla="*/ 215 h 321"/>
              <a:gd name="T72" fmla="*/ 189 w 662"/>
              <a:gd name="T73" fmla="*/ 205 h 321"/>
              <a:gd name="T74" fmla="*/ 215 w 662"/>
              <a:gd name="T75" fmla="*/ 215 h 321"/>
              <a:gd name="T76" fmla="*/ 246 w 662"/>
              <a:gd name="T77" fmla="*/ 222 h 321"/>
              <a:gd name="T78" fmla="*/ 267 w 662"/>
              <a:gd name="T79" fmla="*/ 241 h 321"/>
              <a:gd name="T80" fmla="*/ 291 w 662"/>
              <a:gd name="T81" fmla="*/ 250 h 321"/>
              <a:gd name="T82" fmla="*/ 286 w 662"/>
              <a:gd name="T83" fmla="*/ 274 h 321"/>
              <a:gd name="T84" fmla="*/ 319 w 662"/>
              <a:gd name="T85" fmla="*/ 300 h 321"/>
              <a:gd name="T86" fmla="*/ 345 w 662"/>
              <a:gd name="T87" fmla="*/ 319 h 321"/>
              <a:gd name="T88" fmla="*/ 378 w 662"/>
              <a:gd name="T89" fmla="*/ 319 h 321"/>
              <a:gd name="T90" fmla="*/ 404 w 662"/>
              <a:gd name="T91" fmla="*/ 312 h 321"/>
              <a:gd name="T92" fmla="*/ 419 w 662"/>
              <a:gd name="T93" fmla="*/ 295 h 321"/>
              <a:gd name="T94" fmla="*/ 449 w 662"/>
              <a:gd name="T95" fmla="*/ 293 h 321"/>
              <a:gd name="T96" fmla="*/ 483 w 662"/>
              <a:gd name="T97" fmla="*/ 274 h 321"/>
              <a:gd name="T98" fmla="*/ 518 w 662"/>
              <a:gd name="T99" fmla="*/ 248 h 321"/>
              <a:gd name="T100" fmla="*/ 535 w 662"/>
              <a:gd name="T101" fmla="*/ 232 h 321"/>
              <a:gd name="T102" fmla="*/ 570 w 662"/>
              <a:gd name="T103" fmla="*/ 232 h 321"/>
              <a:gd name="T104" fmla="*/ 580 w 662"/>
              <a:gd name="T105" fmla="*/ 241 h 321"/>
              <a:gd name="T106" fmla="*/ 622 w 662"/>
              <a:gd name="T107" fmla="*/ 239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662" h="321">
                <a:moveTo>
                  <a:pt x="636" y="255"/>
                </a:moveTo>
                <a:lnTo>
                  <a:pt x="639" y="239"/>
                </a:lnTo>
                <a:lnTo>
                  <a:pt x="636" y="234"/>
                </a:lnTo>
                <a:lnTo>
                  <a:pt x="639" y="224"/>
                </a:lnTo>
                <a:lnTo>
                  <a:pt x="643" y="215"/>
                </a:lnTo>
                <a:lnTo>
                  <a:pt x="651" y="215"/>
                </a:lnTo>
                <a:lnTo>
                  <a:pt x="648" y="205"/>
                </a:lnTo>
                <a:lnTo>
                  <a:pt x="653" y="198"/>
                </a:lnTo>
                <a:lnTo>
                  <a:pt x="662" y="194"/>
                </a:lnTo>
                <a:lnTo>
                  <a:pt x="660" y="179"/>
                </a:lnTo>
                <a:lnTo>
                  <a:pt x="648" y="179"/>
                </a:lnTo>
                <a:lnTo>
                  <a:pt x="639" y="179"/>
                </a:lnTo>
                <a:lnTo>
                  <a:pt x="629" y="179"/>
                </a:lnTo>
                <a:lnTo>
                  <a:pt x="622" y="172"/>
                </a:lnTo>
                <a:lnTo>
                  <a:pt x="613" y="163"/>
                </a:lnTo>
                <a:lnTo>
                  <a:pt x="603" y="156"/>
                </a:lnTo>
                <a:lnTo>
                  <a:pt x="596" y="156"/>
                </a:lnTo>
                <a:lnTo>
                  <a:pt x="587" y="134"/>
                </a:lnTo>
                <a:lnTo>
                  <a:pt x="575" y="146"/>
                </a:lnTo>
                <a:lnTo>
                  <a:pt x="570" y="156"/>
                </a:lnTo>
                <a:lnTo>
                  <a:pt x="544" y="163"/>
                </a:lnTo>
                <a:lnTo>
                  <a:pt x="544" y="153"/>
                </a:lnTo>
                <a:lnTo>
                  <a:pt x="542" y="134"/>
                </a:lnTo>
                <a:lnTo>
                  <a:pt x="535" y="142"/>
                </a:lnTo>
                <a:lnTo>
                  <a:pt x="527" y="146"/>
                </a:lnTo>
                <a:lnTo>
                  <a:pt x="518" y="137"/>
                </a:lnTo>
                <a:lnTo>
                  <a:pt x="501" y="146"/>
                </a:lnTo>
                <a:lnTo>
                  <a:pt x="501" y="156"/>
                </a:lnTo>
                <a:lnTo>
                  <a:pt x="492" y="163"/>
                </a:lnTo>
                <a:lnTo>
                  <a:pt x="492" y="146"/>
                </a:lnTo>
                <a:lnTo>
                  <a:pt x="483" y="137"/>
                </a:lnTo>
                <a:lnTo>
                  <a:pt x="475" y="146"/>
                </a:lnTo>
                <a:lnTo>
                  <a:pt x="466" y="146"/>
                </a:lnTo>
                <a:lnTo>
                  <a:pt x="457" y="156"/>
                </a:lnTo>
                <a:lnTo>
                  <a:pt x="449" y="146"/>
                </a:lnTo>
                <a:lnTo>
                  <a:pt x="430" y="146"/>
                </a:lnTo>
                <a:lnTo>
                  <a:pt x="423" y="137"/>
                </a:lnTo>
                <a:lnTo>
                  <a:pt x="414" y="130"/>
                </a:lnTo>
                <a:lnTo>
                  <a:pt x="404" y="120"/>
                </a:lnTo>
                <a:lnTo>
                  <a:pt x="388" y="120"/>
                </a:lnTo>
                <a:lnTo>
                  <a:pt x="371" y="111"/>
                </a:lnTo>
                <a:lnTo>
                  <a:pt x="362" y="101"/>
                </a:lnTo>
                <a:lnTo>
                  <a:pt x="345" y="78"/>
                </a:lnTo>
                <a:lnTo>
                  <a:pt x="336" y="85"/>
                </a:lnTo>
                <a:lnTo>
                  <a:pt x="329" y="78"/>
                </a:lnTo>
                <a:lnTo>
                  <a:pt x="310" y="78"/>
                </a:lnTo>
                <a:lnTo>
                  <a:pt x="303" y="78"/>
                </a:lnTo>
                <a:lnTo>
                  <a:pt x="310" y="85"/>
                </a:lnTo>
                <a:lnTo>
                  <a:pt x="303" y="85"/>
                </a:lnTo>
                <a:lnTo>
                  <a:pt x="293" y="94"/>
                </a:lnTo>
                <a:lnTo>
                  <a:pt x="293" y="101"/>
                </a:lnTo>
                <a:lnTo>
                  <a:pt x="284" y="85"/>
                </a:lnTo>
                <a:lnTo>
                  <a:pt x="277" y="78"/>
                </a:lnTo>
                <a:lnTo>
                  <a:pt x="258" y="78"/>
                </a:lnTo>
                <a:lnTo>
                  <a:pt x="267" y="68"/>
                </a:lnTo>
                <a:lnTo>
                  <a:pt x="277" y="59"/>
                </a:lnTo>
                <a:lnTo>
                  <a:pt x="267" y="52"/>
                </a:lnTo>
                <a:lnTo>
                  <a:pt x="251" y="52"/>
                </a:lnTo>
                <a:lnTo>
                  <a:pt x="234" y="42"/>
                </a:lnTo>
                <a:lnTo>
                  <a:pt x="225" y="42"/>
                </a:lnTo>
                <a:lnTo>
                  <a:pt x="215" y="33"/>
                </a:lnTo>
                <a:lnTo>
                  <a:pt x="206" y="33"/>
                </a:lnTo>
                <a:lnTo>
                  <a:pt x="206" y="26"/>
                </a:lnTo>
                <a:lnTo>
                  <a:pt x="206" y="16"/>
                </a:lnTo>
                <a:lnTo>
                  <a:pt x="206" y="0"/>
                </a:lnTo>
                <a:lnTo>
                  <a:pt x="199" y="0"/>
                </a:lnTo>
                <a:lnTo>
                  <a:pt x="182" y="0"/>
                </a:lnTo>
                <a:lnTo>
                  <a:pt x="182" y="9"/>
                </a:lnTo>
                <a:lnTo>
                  <a:pt x="173" y="16"/>
                </a:lnTo>
                <a:lnTo>
                  <a:pt x="163" y="16"/>
                </a:lnTo>
                <a:lnTo>
                  <a:pt x="163" y="9"/>
                </a:lnTo>
                <a:lnTo>
                  <a:pt x="156" y="0"/>
                </a:lnTo>
                <a:lnTo>
                  <a:pt x="137" y="9"/>
                </a:lnTo>
                <a:lnTo>
                  <a:pt x="130" y="16"/>
                </a:lnTo>
                <a:lnTo>
                  <a:pt x="121" y="26"/>
                </a:lnTo>
                <a:lnTo>
                  <a:pt x="95" y="42"/>
                </a:lnTo>
                <a:lnTo>
                  <a:pt x="85" y="42"/>
                </a:lnTo>
                <a:lnTo>
                  <a:pt x="76" y="52"/>
                </a:lnTo>
                <a:lnTo>
                  <a:pt x="69" y="52"/>
                </a:lnTo>
                <a:lnTo>
                  <a:pt x="52" y="59"/>
                </a:lnTo>
                <a:lnTo>
                  <a:pt x="33" y="59"/>
                </a:lnTo>
                <a:lnTo>
                  <a:pt x="26" y="52"/>
                </a:lnTo>
                <a:lnTo>
                  <a:pt x="7" y="59"/>
                </a:lnTo>
                <a:lnTo>
                  <a:pt x="7" y="52"/>
                </a:lnTo>
                <a:lnTo>
                  <a:pt x="0" y="42"/>
                </a:lnTo>
                <a:lnTo>
                  <a:pt x="0" y="59"/>
                </a:lnTo>
                <a:lnTo>
                  <a:pt x="7" y="78"/>
                </a:lnTo>
                <a:lnTo>
                  <a:pt x="16" y="78"/>
                </a:lnTo>
                <a:lnTo>
                  <a:pt x="16" y="94"/>
                </a:lnTo>
                <a:lnTo>
                  <a:pt x="26" y="101"/>
                </a:lnTo>
                <a:lnTo>
                  <a:pt x="33" y="111"/>
                </a:lnTo>
                <a:lnTo>
                  <a:pt x="33" y="130"/>
                </a:lnTo>
                <a:lnTo>
                  <a:pt x="33" y="137"/>
                </a:lnTo>
                <a:lnTo>
                  <a:pt x="43" y="146"/>
                </a:lnTo>
                <a:lnTo>
                  <a:pt x="52" y="163"/>
                </a:lnTo>
                <a:lnTo>
                  <a:pt x="61" y="179"/>
                </a:lnTo>
                <a:lnTo>
                  <a:pt x="69" y="189"/>
                </a:lnTo>
                <a:lnTo>
                  <a:pt x="76" y="189"/>
                </a:lnTo>
                <a:lnTo>
                  <a:pt x="83" y="198"/>
                </a:lnTo>
                <a:lnTo>
                  <a:pt x="90" y="205"/>
                </a:lnTo>
                <a:lnTo>
                  <a:pt x="97" y="215"/>
                </a:lnTo>
                <a:lnTo>
                  <a:pt x="102" y="224"/>
                </a:lnTo>
                <a:lnTo>
                  <a:pt x="111" y="224"/>
                </a:lnTo>
                <a:lnTo>
                  <a:pt x="121" y="232"/>
                </a:lnTo>
                <a:lnTo>
                  <a:pt x="137" y="232"/>
                </a:lnTo>
                <a:lnTo>
                  <a:pt x="156" y="232"/>
                </a:lnTo>
                <a:lnTo>
                  <a:pt x="163" y="224"/>
                </a:lnTo>
                <a:lnTo>
                  <a:pt x="163" y="215"/>
                </a:lnTo>
                <a:lnTo>
                  <a:pt x="168" y="210"/>
                </a:lnTo>
                <a:lnTo>
                  <a:pt x="173" y="205"/>
                </a:lnTo>
                <a:lnTo>
                  <a:pt x="189" y="205"/>
                </a:lnTo>
                <a:lnTo>
                  <a:pt x="199" y="205"/>
                </a:lnTo>
                <a:lnTo>
                  <a:pt x="206" y="205"/>
                </a:lnTo>
                <a:lnTo>
                  <a:pt x="215" y="215"/>
                </a:lnTo>
                <a:lnTo>
                  <a:pt x="225" y="215"/>
                </a:lnTo>
                <a:lnTo>
                  <a:pt x="241" y="215"/>
                </a:lnTo>
                <a:lnTo>
                  <a:pt x="246" y="222"/>
                </a:lnTo>
                <a:lnTo>
                  <a:pt x="251" y="229"/>
                </a:lnTo>
                <a:lnTo>
                  <a:pt x="253" y="234"/>
                </a:lnTo>
                <a:lnTo>
                  <a:pt x="267" y="241"/>
                </a:lnTo>
                <a:lnTo>
                  <a:pt x="274" y="243"/>
                </a:lnTo>
                <a:lnTo>
                  <a:pt x="286" y="243"/>
                </a:lnTo>
                <a:lnTo>
                  <a:pt x="291" y="250"/>
                </a:lnTo>
                <a:lnTo>
                  <a:pt x="289" y="258"/>
                </a:lnTo>
                <a:lnTo>
                  <a:pt x="298" y="269"/>
                </a:lnTo>
                <a:lnTo>
                  <a:pt x="286" y="274"/>
                </a:lnTo>
                <a:lnTo>
                  <a:pt x="296" y="293"/>
                </a:lnTo>
                <a:lnTo>
                  <a:pt x="310" y="293"/>
                </a:lnTo>
                <a:lnTo>
                  <a:pt x="319" y="300"/>
                </a:lnTo>
                <a:lnTo>
                  <a:pt x="326" y="307"/>
                </a:lnTo>
                <a:lnTo>
                  <a:pt x="336" y="314"/>
                </a:lnTo>
                <a:lnTo>
                  <a:pt x="345" y="319"/>
                </a:lnTo>
                <a:lnTo>
                  <a:pt x="362" y="321"/>
                </a:lnTo>
                <a:lnTo>
                  <a:pt x="371" y="319"/>
                </a:lnTo>
                <a:lnTo>
                  <a:pt x="378" y="319"/>
                </a:lnTo>
                <a:lnTo>
                  <a:pt x="381" y="317"/>
                </a:lnTo>
                <a:lnTo>
                  <a:pt x="397" y="312"/>
                </a:lnTo>
                <a:lnTo>
                  <a:pt x="404" y="312"/>
                </a:lnTo>
                <a:lnTo>
                  <a:pt x="412" y="310"/>
                </a:lnTo>
                <a:lnTo>
                  <a:pt x="414" y="300"/>
                </a:lnTo>
                <a:lnTo>
                  <a:pt x="419" y="295"/>
                </a:lnTo>
                <a:lnTo>
                  <a:pt x="423" y="293"/>
                </a:lnTo>
                <a:lnTo>
                  <a:pt x="440" y="293"/>
                </a:lnTo>
                <a:lnTo>
                  <a:pt x="449" y="293"/>
                </a:lnTo>
                <a:lnTo>
                  <a:pt x="457" y="293"/>
                </a:lnTo>
                <a:lnTo>
                  <a:pt x="475" y="284"/>
                </a:lnTo>
                <a:lnTo>
                  <a:pt x="483" y="274"/>
                </a:lnTo>
                <a:lnTo>
                  <a:pt x="501" y="267"/>
                </a:lnTo>
                <a:lnTo>
                  <a:pt x="509" y="258"/>
                </a:lnTo>
                <a:lnTo>
                  <a:pt x="518" y="248"/>
                </a:lnTo>
                <a:lnTo>
                  <a:pt x="518" y="241"/>
                </a:lnTo>
                <a:lnTo>
                  <a:pt x="527" y="232"/>
                </a:lnTo>
                <a:lnTo>
                  <a:pt x="535" y="232"/>
                </a:lnTo>
                <a:lnTo>
                  <a:pt x="544" y="232"/>
                </a:lnTo>
                <a:lnTo>
                  <a:pt x="561" y="232"/>
                </a:lnTo>
                <a:lnTo>
                  <a:pt x="570" y="232"/>
                </a:lnTo>
                <a:lnTo>
                  <a:pt x="572" y="234"/>
                </a:lnTo>
                <a:lnTo>
                  <a:pt x="580" y="234"/>
                </a:lnTo>
                <a:lnTo>
                  <a:pt x="580" y="241"/>
                </a:lnTo>
                <a:lnTo>
                  <a:pt x="596" y="241"/>
                </a:lnTo>
                <a:lnTo>
                  <a:pt x="603" y="248"/>
                </a:lnTo>
                <a:lnTo>
                  <a:pt x="622" y="239"/>
                </a:lnTo>
                <a:lnTo>
                  <a:pt x="636" y="25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3" name="Freeform 535">
            <a:extLst>
              <a:ext uri="{FF2B5EF4-FFF2-40B4-BE49-F238E27FC236}">
                <a16:creationId xmlns:a16="http://schemas.microsoft.com/office/drawing/2014/main" id="{273D6950-C6C8-45F4-A495-D6623BBE4510}"/>
              </a:ext>
            </a:extLst>
          </p:cNvPr>
          <p:cNvSpPr>
            <a:spLocks/>
          </p:cNvSpPr>
          <p:nvPr/>
        </p:nvSpPr>
        <p:spPr bwMode="auto">
          <a:xfrm>
            <a:off x="2057032" y="2914911"/>
            <a:ext cx="387413" cy="244026"/>
          </a:xfrm>
          <a:custGeom>
            <a:avLst/>
            <a:gdLst>
              <a:gd name="T0" fmla="*/ 68 w 435"/>
              <a:gd name="T1" fmla="*/ 59 h 274"/>
              <a:gd name="T2" fmla="*/ 85 w 435"/>
              <a:gd name="T3" fmla="*/ 68 h 274"/>
              <a:gd name="T4" fmla="*/ 102 w 435"/>
              <a:gd name="T5" fmla="*/ 85 h 274"/>
              <a:gd name="T6" fmla="*/ 128 w 435"/>
              <a:gd name="T7" fmla="*/ 85 h 274"/>
              <a:gd name="T8" fmla="*/ 139 w 435"/>
              <a:gd name="T9" fmla="*/ 85 h 274"/>
              <a:gd name="T10" fmla="*/ 170 w 435"/>
              <a:gd name="T11" fmla="*/ 78 h 274"/>
              <a:gd name="T12" fmla="*/ 170 w 435"/>
              <a:gd name="T13" fmla="*/ 68 h 274"/>
              <a:gd name="T14" fmla="*/ 184 w 435"/>
              <a:gd name="T15" fmla="*/ 59 h 274"/>
              <a:gd name="T16" fmla="*/ 206 w 435"/>
              <a:gd name="T17" fmla="*/ 59 h 274"/>
              <a:gd name="T18" fmla="*/ 232 w 435"/>
              <a:gd name="T19" fmla="*/ 52 h 274"/>
              <a:gd name="T20" fmla="*/ 258 w 435"/>
              <a:gd name="T21" fmla="*/ 33 h 274"/>
              <a:gd name="T22" fmla="*/ 274 w 435"/>
              <a:gd name="T23" fmla="*/ 16 h 274"/>
              <a:gd name="T24" fmla="*/ 284 w 435"/>
              <a:gd name="T25" fmla="*/ 0 h 274"/>
              <a:gd name="T26" fmla="*/ 300 w 435"/>
              <a:gd name="T27" fmla="*/ 0 h 274"/>
              <a:gd name="T28" fmla="*/ 326 w 435"/>
              <a:gd name="T29" fmla="*/ 0 h 274"/>
              <a:gd name="T30" fmla="*/ 343 w 435"/>
              <a:gd name="T31" fmla="*/ 0 h 274"/>
              <a:gd name="T32" fmla="*/ 352 w 435"/>
              <a:gd name="T33" fmla="*/ 7 h 274"/>
              <a:gd name="T34" fmla="*/ 378 w 435"/>
              <a:gd name="T35" fmla="*/ 7 h 274"/>
              <a:gd name="T36" fmla="*/ 400 w 435"/>
              <a:gd name="T37" fmla="*/ 26 h 274"/>
              <a:gd name="T38" fmla="*/ 414 w 435"/>
              <a:gd name="T39" fmla="*/ 26 h 274"/>
              <a:gd name="T40" fmla="*/ 435 w 435"/>
              <a:gd name="T41" fmla="*/ 40 h 274"/>
              <a:gd name="T42" fmla="*/ 433 w 435"/>
              <a:gd name="T43" fmla="*/ 66 h 274"/>
              <a:gd name="T44" fmla="*/ 407 w 435"/>
              <a:gd name="T45" fmla="*/ 85 h 274"/>
              <a:gd name="T46" fmla="*/ 390 w 435"/>
              <a:gd name="T47" fmla="*/ 92 h 274"/>
              <a:gd name="T48" fmla="*/ 381 w 435"/>
              <a:gd name="T49" fmla="*/ 123 h 274"/>
              <a:gd name="T50" fmla="*/ 374 w 435"/>
              <a:gd name="T51" fmla="*/ 139 h 274"/>
              <a:gd name="T52" fmla="*/ 357 w 435"/>
              <a:gd name="T53" fmla="*/ 170 h 274"/>
              <a:gd name="T54" fmla="*/ 341 w 435"/>
              <a:gd name="T55" fmla="*/ 184 h 274"/>
              <a:gd name="T56" fmla="*/ 326 w 435"/>
              <a:gd name="T57" fmla="*/ 203 h 274"/>
              <a:gd name="T58" fmla="*/ 312 w 435"/>
              <a:gd name="T59" fmla="*/ 217 h 274"/>
              <a:gd name="T60" fmla="*/ 303 w 435"/>
              <a:gd name="T61" fmla="*/ 234 h 274"/>
              <a:gd name="T62" fmla="*/ 267 w 435"/>
              <a:gd name="T63" fmla="*/ 222 h 274"/>
              <a:gd name="T64" fmla="*/ 258 w 435"/>
              <a:gd name="T65" fmla="*/ 231 h 274"/>
              <a:gd name="T66" fmla="*/ 232 w 435"/>
              <a:gd name="T67" fmla="*/ 239 h 274"/>
              <a:gd name="T68" fmla="*/ 206 w 435"/>
              <a:gd name="T69" fmla="*/ 239 h 274"/>
              <a:gd name="T70" fmla="*/ 180 w 435"/>
              <a:gd name="T71" fmla="*/ 248 h 274"/>
              <a:gd name="T72" fmla="*/ 163 w 435"/>
              <a:gd name="T73" fmla="*/ 258 h 274"/>
              <a:gd name="T74" fmla="*/ 147 w 435"/>
              <a:gd name="T75" fmla="*/ 274 h 274"/>
              <a:gd name="T76" fmla="*/ 118 w 435"/>
              <a:gd name="T77" fmla="*/ 267 h 274"/>
              <a:gd name="T78" fmla="*/ 102 w 435"/>
              <a:gd name="T79" fmla="*/ 267 h 274"/>
              <a:gd name="T80" fmla="*/ 85 w 435"/>
              <a:gd name="T81" fmla="*/ 258 h 274"/>
              <a:gd name="T82" fmla="*/ 76 w 435"/>
              <a:gd name="T83" fmla="*/ 248 h 274"/>
              <a:gd name="T84" fmla="*/ 59 w 435"/>
              <a:gd name="T85" fmla="*/ 239 h 274"/>
              <a:gd name="T86" fmla="*/ 42 w 435"/>
              <a:gd name="T87" fmla="*/ 222 h 274"/>
              <a:gd name="T88" fmla="*/ 33 w 435"/>
              <a:gd name="T89" fmla="*/ 205 h 274"/>
              <a:gd name="T90" fmla="*/ 24 w 435"/>
              <a:gd name="T91" fmla="*/ 189 h 274"/>
              <a:gd name="T92" fmla="*/ 16 w 435"/>
              <a:gd name="T93" fmla="*/ 170 h 274"/>
              <a:gd name="T94" fmla="*/ 0 w 435"/>
              <a:gd name="T95" fmla="*/ 179 h 274"/>
              <a:gd name="T96" fmla="*/ 7 w 435"/>
              <a:gd name="T97" fmla="*/ 153 h 274"/>
              <a:gd name="T98" fmla="*/ 24 w 435"/>
              <a:gd name="T99" fmla="*/ 137 h 274"/>
              <a:gd name="T100" fmla="*/ 33 w 435"/>
              <a:gd name="T101" fmla="*/ 120 h 274"/>
              <a:gd name="T102" fmla="*/ 33 w 435"/>
              <a:gd name="T103" fmla="*/ 101 h 274"/>
              <a:gd name="T104" fmla="*/ 24 w 435"/>
              <a:gd name="T105" fmla="*/ 85 h 274"/>
              <a:gd name="T106" fmla="*/ 45 w 435"/>
              <a:gd name="T107" fmla="*/ 80 h 274"/>
              <a:gd name="T108" fmla="*/ 52 w 435"/>
              <a:gd name="T109" fmla="*/ 89 h 274"/>
              <a:gd name="T110" fmla="*/ 59 w 435"/>
              <a:gd name="T111" fmla="*/ 75 h 274"/>
              <a:gd name="T112" fmla="*/ 50 w 435"/>
              <a:gd name="T113" fmla="*/ 45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35" h="274">
                <a:moveTo>
                  <a:pt x="50" y="45"/>
                </a:moveTo>
                <a:lnTo>
                  <a:pt x="68" y="59"/>
                </a:lnTo>
                <a:lnTo>
                  <a:pt x="76" y="68"/>
                </a:lnTo>
                <a:lnTo>
                  <a:pt x="85" y="68"/>
                </a:lnTo>
                <a:lnTo>
                  <a:pt x="94" y="75"/>
                </a:lnTo>
                <a:lnTo>
                  <a:pt x="102" y="85"/>
                </a:lnTo>
                <a:lnTo>
                  <a:pt x="118" y="85"/>
                </a:lnTo>
                <a:lnTo>
                  <a:pt x="128" y="85"/>
                </a:lnTo>
                <a:lnTo>
                  <a:pt x="137" y="85"/>
                </a:lnTo>
                <a:lnTo>
                  <a:pt x="139" y="85"/>
                </a:lnTo>
                <a:lnTo>
                  <a:pt x="163" y="78"/>
                </a:lnTo>
                <a:lnTo>
                  <a:pt x="170" y="78"/>
                </a:lnTo>
                <a:lnTo>
                  <a:pt x="165" y="71"/>
                </a:lnTo>
                <a:lnTo>
                  <a:pt x="170" y="68"/>
                </a:lnTo>
                <a:lnTo>
                  <a:pt x="173" y="59"/>
                </a:lnTo>
                <a:lnTo>
                  <a:pt x="184" y="59"/>
                </a:lnTo>
                <a:lnTo>
                  <a:pt x="196" y="59"/>
                </a:lnTo>
                <a:lnTo>
                  <a:pt x="206" y="59"/>
                </a:lnTo>
                <a:lnTo>
                  <a:pt x="215" y="59"/>
                </a:lnTo>
                <a:lnTo>
                  <a:pt x="232" y="52"/>
                </a:lnTo>
                <a:lnTo>
                  <a:pt x="241" y="42"/>
                </a:lnTo>
                <a:lnTo>
                  <a:pt x="258" y="33"/>
                </a:lnTo>
                <a:lnTo>
                  <a:pt x="267" y="26"/>
                </a:lnTo>
                <a:lnTo>
                  <a:pt x="274" y="16"/>
                </a:lnTo>
                <a:lnTo>
                  <a:pt x="274" y="7"/>
                </a:lnTo>
                <a:lnTo>
                  <a:pt x="284" y="0"/>
                </a:lnTo>
                <a:lnTo>
                  <a:pt x="293" y="0"/>
                </a:lnTo>
                <a:lnTo>
                  <a:pt x="300" y="0"/>
                </a:lnTo>
                <a:lnTo>
                  <a:pt x="319" y="0"/>
                </a:lnTo>
                <a:lnTo>
                  <a:pt x="326" y="0"/>
                </a:lnTo>
                <a:lnTo>
                  <a:pt x="336" y="0"/>
                </a:lnTo>
                <a:lnTo>
                  <a:pt x="343" y="0"/>
                </a:lnTo>
                <a:lnTo>
                  <a:pt x="343" y="7"/>
                </a:lnTo>
                <a:lnTo>
                  <a:pt x="352" y="7"/>
                </a:lnTo>
                <a:lnTo>
                  <a:pt x="362" y="16"/>
                </a:lnTo>
                <a:lnTo>
                  <a:pt x="378" y="7"/>
                </a:lnTo>
                <a:lnTo>
                  <a:pt x="397" y="16"/>
                </a:lnTo>
                <a:lnTo>
                  <a:pt x="400" y="26"/>
                </a:lnTo>
                <a:lnTo>
                  <a:pt x="404" y="23"/>
                </a:lnTo>
                <a:lnTo>
                  <a:pt x="414" y="26"/>
                </a:lnTo>
                <a:lnTo>
                  <a:pt x="421" y="33"/>
                </a:lnTo>
                <a:lnTo>
                  <a:pt x="435" y="40"/>
                </a:lnTo>
                <a:lnTo>
                  <a:pt x="435" y="49"/>
                </a:lnTo>
                <a:lnTo>
                  <a:pt x="433" y="66"/>
                </a:lnTo>
                <a:lnTo>
                  <a:pt x="419" y="78"/>
                </a:lnTo>
                <a:lnTo>
                  <a:pt x="407" y="85"/>
                </a:lnTo>
                <a:lnTo>
                  <a:pt x="400" y="89"/>
                </a:lnTo>
                <a:lnTo>
                  <a:pt x="390" y="92"/>
                </a:lnTo>
                <a:lnTo>
                  <a:pt x="383" y="104"/>
                </a:lnTo>
                <a:lnTo>
                  <a:pt x="381" y="123"/>
                </a:lnTo>
                <a:lnTo>
                  <a:pt x="376" y="130"/>
                </a:lnTo>
                <a:lnTo>
                  <a:pt x="374" y="139"/>
                </a:lnTo>
                <a:lnTo>
                  <a:pt x="369" y="160"/>
                </a:lnTo>
                <a:lnTo>
                  <a:pt x="357" y="170"/>
                </a:lnTo>
                <a:lnTo>
                  <a:pt x="352" y="182"/>
                </a:lnTo>
                <a:lnTo>
                  <a:pt x="341" y="184"/>
                </a:lnTo>
                <a:lnTo>
                  <a:pt x="341" y="194"/>
                </a:lnTo>
                <a:lnTo>
                  <a:pt x="326" y="203"/>
                </a:lnTo>
                <a:lnTo>
                  <a:pt x="324" y="208"/>
                </a:lnTo>
                <a:lnTo>
                  <a:pt x="312" y="217"/>
                </a:lnTo>
                <a:lnTo>
                  <a:pt x="307" y="224"/>
                </a:lnTo>
                <a:lnTo>
                  <a:pt x="303" y="234"/>
                </a:lnTo>
                <a:lnTo>
                  <a:pt x="274" y="231"/>
                </a:lnTo>
                <a:lnTo>
                  <a:pt x="267" y="222"/>
                </a:lnTo>
                <a:lnTo>
                  <a:pt x="258" y="222"/>
                </a:lnTo>
                <a:lnTo>
                  <a:pt x="258" y="231"/>
                </a:lnTo>
                <a:lnTo>
                  <a:pt x="241" y="239"/>
                </a:lnTo>
                <a:lnTo>
                  <a:pt x="232" y="239"/>
                </a:lnTo>
                <a:lnTo>
                  <a:pt x="225" y="231"/>
                </a:lnTo>
                <a:lnTo>
                  <a:pt x="206" y="239"/>
                </a:lnTo>
                <a:lnTo>
                  <a:pt x="196" y="248"/>
                </a:lnTo>
                <a:lnTo>
                  <a:pt x="180" y="248"/>
                </a:lnTo>
                <a:lnTo>
                  <a:pt x="173" y="248"/>
                </a:lnTo>
                <a:lnTo>
                  <a:pt x="163" y="258"/>
                </a:lnTo>
                <a:lnTo>
                  <a:pt x="154" y="267"/>
                </a:lnTo>
                <a:lnTo>
                  <a:pt x="147" y="274"/>
                </a:lnTo>
                <a:lnTo>
                  <a:pt x="137" y="274"/>
                </a:lnTo>
                <a:lnTo>
                  <a:pt x="118" y="267"/>
                </a:lnTo>
                <a:lnTo>
                  <a:pt x="111" y="267"/>
                </a:lnTo>
                <a:lnTo>
                  <a:pt x="102" y="267"/>
                </a:lnTo>
                <a:lnTo>
                  <a:pt x="94" y="267"/>
                </a:lnTo>
                <a:lnTo>
                  <a:pt x="85" y="258"/>
                </a:lnTo>
                <a:lnTo>
                  <a:pt x="76" y="258"/>
                </a:lnTo>
                <a:lnTo>
                  <a:pt x="76" y="248"/>
                </a:lnTo>
                <a:lnTo>
                  <a:pt x="68" y="248"/>
                </a:lnTo>
                <a:lnTo>
                  <a:pt x="59" y="239"/>
                </a:lnTo>
                <a:lnTo>
                  <a:pt x="52" y="231"/>
                </a:lnTo>
                <a:lnTo>
                  <a:pt x="42" y="222"/>
                </a:lnTo>
                <a:lnTo>
                  <a:pt x="33" y="215"/>
                </a:lnTo>
                <a:lnTo>
                  <a:pt x="33" y="205"/>
                </a:lnTo>
                <a:lnTo>
                  <a:pt x="33" y="196"/>
                </a:lnTo>
                <a:lnTo>
                  <a:pt x="24" y="189"/>
                </a:lnTo>
                <a:lnTo>
                  <a:pt x="16" y="179"/>
                </a:lnTo>
                <a:lnTo>
                  <a:pt x="16" y="170"/>
                </a:lnTo>
                <a:lnTo>
                  <a:pt x="0" y="170"/>
                </a:lnTo>
                <a:lnTo>
                  <a:pt x="0" y="179"/>
                </a:lnTo>
                <a:lnTo>
                  <a:pt x="0" y="170"/>
                </a:lnTo>
                <a:lnTo>
                  <a:pt x="7" y="153"/>
                </a:lnTo>
                <a:lnTo>
                  <a:pt x="16" y="153"/>
                </a:lnTo>
                <a:lnTo>
                  <a:pt x="24" y="137"/>
                </a:lnTo>
                <a:lnTo>
                  <a:pt x="24" y="120"/>
                </a:lnTo>
                <a:lnTo>
                  <a:pt x="33" y="120"/>
                </a:lnTo>
                <a:lnTo>
                  <a:pt x="33" y="111"/>
                </a:lnTo>
                <a:lnTo>
                  <a:pt x="33" y="101"/>
                </a:lnTo>
                <a:lnTo>
                  <a:pt x="24" y="94"/>
                </a:lnTo>
                <a:lnTo>
                  <a:pt x="24" y="85"/>
                </a:lnTo>
                <a:lnTo>
                  <a:pt x="33" y="85"/>
                </a:lnTo>
                <a:lnTo>
                  <a:pt x="45" y="80"/>
                </a:lnTo>
                <a:lnTo>
                  <a:pt x="40" y="87"/>
                </a:lnTo>
                <a:lnTo>
                  <a:pt x="52" y="89"/>
                </a:lnTo>
                <a:lnTo>
                  <a:pt x="52" y="85"/>
                </a:lnTo>
                <a:lnTo>
                  <a:pt x="59" y="75"/>
                </a:lnTo>
                <a:lnTo>
                  <a:pt x="54" y="61"/>
                </a:lnTo>
                <a:lnTo>
                  <a:pt x="50" y="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4" name="Freeform 536">
            <a:extLst>
              <a:ext uri="{FF2B5EF4-FFF2-40B4-BE49-F238E27FC236}">
                <a16:creationId xmlns:a16="http://schemas.microsoft.com/office/drawing/2014/main" id="{3C4775C8-E35B-4D79-A2D0-F3C2C824A3C2}"/>
              </a:ext>
            </a:extLst>
          </p:cNvPr>
          <p:cNvSpPr>
            <a:spLocks/>
          </p:cNvSpPr>
          <p:nvPr/>
        </p:nvSpPr>
        <p:spPr bwMode="auto">
          <a:xfrm>
            <a:off x="1972420" y="2368076"/>
            <a:ext cx="545942" cy="512988"/>
          </a:xfrm>
          <a:custGeom>
            <a:avLst/>
            <a:gdLst>
              <a:gd name="T0" fmla="*/ 45 w 613"/>
              <a:gd name="T1" fmla="*/ 159 h 576"/>
              <a:gd name="T2" fmla="*/ 52 w 613"/>
              <a:gd name="T3" fmla="*/ 114 h 576"/>
              <a:gd name="T4" fmla="*/ 104 w 613"/>
              <a:gd name="T5" fmla="*/ 107 h 576"/>
              <a:gd name="T6" fmla="*/ 130 w 613"/>
              <a:gd name="T7" fmla="*/ 88 h 576"/>
              <a:gd name="T8" fmla="*/ 166 w 613"/>
              <a:gd name="T9" fmla="*/ 71 h 576"/>
              <a:gd name="T10" fmla="*/ 192 w 613"/>
              <a:gd name="T11" fmla="*/ 55 h 576"/>
              <a:gd name="T12" fmla="*/ 234 w 613"/>
              <a:gd name="T13" fmla="*/ 45 h 576"/>
              <a:gd name="T14" fmla="*/ 268 w 613"/>
              <a:gd name="T15" fmla="*/ 71 h 576"/>
              <a:gd name="T16" fmla="*/ 303 w 613"/>
              <a:gd name="T17" fmla="*/ 88 h 576"/>
              <a:gd name="T18" fmla="*/ 339 w 613"/>
              <a:gd name="T19" fmla="*/ 98 h 576"/>
              <a:gd name="T20" fmla="*/ 346 w 613"/>
              <a:gd name="T21" fmla="*/ 71 h 576"/>
              <a:gd name="T22" fmla="*/ 355 w 613"/>
              <a:gd name="T23" fmla="*/ 38 h 576"/>
              <a:gd name="T24" fmla="*/ 381 w 613"/>
              <a:gd name="T25" fmla="*/ 29 h 576"/>
              <a:gd name="T26" fmla="*/ 417 w 613"/>
              <a:gd name="T27" fmla="*/ 12 h 576"/>
              <a:gd name="T28" fmla="*/ 428 w 613"/>
              <a:gd name="T29" fmla="*/ 0 h 576"/>
              <a:gd name="T30" fmla="*/ 450 w 613"/>
              <a:gd name="T31" fmla="*/ 17 h 576"/>
              <a:gd name="T32" fmla="*/ 507 w 613"/>
              <a:gd name="T33" fmla="*/ 8 h 576"/>
              <a:gd name="T34" fmla="*/ 516 w 613"/>
              <a:gd name="T35" fmla="*/ 55 h 576"/>
              <a:gd name="T36" fmla="*/ 533 w 613"/>
              <a:gd name="T37" fmla="*/ 76 h 576"/>
              <a:gd name="T38" fmla="*/ 566 w 613"/>
              <a:gd name="T39" fmla="*/ 126 h 576"/>
              <a:gd name="T40" fmla="*/ 592 w 613"/>
              <a:gd name="T41" fmla="*/ 183 h 576"/>
              <a:gd name="T42" fmla="*/ 559 w 613"/>
              <a:gd name="T43" fmla="*/ 266 h 576"/>
              <a:gd name="T44" fmla="*/ 575 w 613"/>
              <a:gd name="T45" fmla="*/ 311 h 576"/>
              <a:gd name="T46" fmla="*/ 573 w 613"/>
              <a:gd name="T47" fmla="*/ 353 h 576"/>
              <a:gd name="T48" fmla="*/ 599 w 613"/>
              <a:gd name="T49" fmla="*/ 398 h 576"/>
              <a:gd name="T50" fmla="*/ 606 w 613"/>
              <a:gd name="T51" fmla="*/ 443 h 576"/>
              <a:gd name="T52" fmla="*/ 556 w 613"/>
              <a:gd name="T53" fmla="*/ 472 h 576"/>
              <a:gd name="T54" fmla="*/ 528 w 613"/>
              <a:gd name="T55" fmla="*/ 509 h 576"/>
              <a:gd name="T56" fmla="*/ 523 w 613"/>
              <a:gd name="T57" fmla="*/ 552 h 576"/>
              <a:gd name="T58" fmla="*/ 502 w 613"/>
              <a:gd name="T59" fmla="*/ 561 h 576"/>
              <a:gd name="T60" fmla="*/ 469 w 613"/>
              <a:gd name="T61" fmla="*/ 545 h 576"/>
              <a:gd name="T62" fmla="*/ 433 w 613"/>
              <a:gd name="T63" fmla="*/ 528 h 576"/>
              <a:gd name="T64" fmla="*/ 398 w 613"/>
              <a:gd name="T65" fmla="*/ 519 h 576"/>
              <a:gd name="T66" fmla="*/ 355 w 613"/>
              <a:gd name="T67" fmla="*/ 528 h 576"/>
              <a:gd name="T68" fmla="*/ 339 w 613"/>
              <a:gd name="T69" fmla="*/ 519 h 576"/>
              <a:gd name="T70" fmla="*/ 303 w 613"/>
              <a:gd name="T71" fmla="*/ 528 h 576"/>
              <a:gd name="T72" fmla="*/ 260 w 613"/>
              <a:gd name="T73" fmla="*/ 502 h 576"/>
              <a:gd name="T74" fmla="*/ 199 w 613"/>
              <a:gd name="T75" fmla="*/ 460 h 576"/>
              <a:gd name="T76" fmla="*/ 156 w 613"/>
              <a:gd name="T77" fmla="*/ 460 h 576"/>
              <a:gd name="T78" fmla="*/ 149 w 613"/>
              <a:gd name="T79" fmla="*/ 483 h 576"/>
              <a:gd name="T80" fmla="*/ 123 w 613"/>
              <a:gd name="T81" fmla="*/ 450 h 576"/>
              <a:gd name="T82" fmla="*/ 88 w 613"/>
              <a:gd name="T83" fmla="*/ 424 h 576"/>
              <a:gd name="T84" fmla="*/ 62 w 613"/>
              <a:gd name="T85" fmla="*/ 408 h 576"/>
              <a:gd name="T86" fmla="*/ 40 w 613"/>
              <a:gd name="T87" fmla="*/ 384 h 576"/>
              <a:gd name="T88" fmla="*/ 45 w 613"/>
              <a:gd name="T89" fmla="*/ 346 h 576"/>
              <a:gd name="T90" fmla="*/ 36 w 613"/>
              <a:gd name="T91" fmla="*/ 303 h 576"/>
              <a:gd name="T92" fmla="*/ 26 w 613"/>
              <a:gd name="T93" fmla="*/ 261 h 576"/>
              <a:gd name="T94" fmla="*/ 19 w 613"/>
              <a:gd name="T95" fmla="*/ 235 h 576"/>
              <a:gd name="T96" fmla="*/ 19 w 613"/>
              <a:gd name="T97" fmla="*/ 192 h 576"/>
              <a:gd name="T98" fmla="*/ 19 w 613"/>
              <a:gd name="T99" fmla="*/ 159 h 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613" h="576">
                <a:moveTo>
                  <a:pt x="19" y="145"/>
                </a:moveTo>
                <a:lnTo>
                  <a:pt x="29" y="157"/>
                </a:lnTo>
                <a:lnTo>
                  <a:pt x="43" y="157"/>
                </a:lnTo>
                <a:lnTo>
                  <a:pt x="45" y="159"/>
                </a:lnTo>
                <a:lnTo>
                  <a:pt x="45" y="150"/>
                </a:lnTo>
                <a:lnTo>
                  <a:pt x="36" y="140"/>
                </a:lnTo>
                <a:lnTo>
                  <a:pt x="45" y="133"/>
                </a:lnTo>
                <a:lnTo>
                  <a:pt x="52" y="114"/>
                </a:lnTo>
                <a:lnTo>
                  <a:pt x="71" y="107"/>
                </a:lnTo>
                <a:lnTo>
                  <a:pt x="78" y="107"/>
                </a:lnTo>
                <a:lnTo>
                  <a:pt x="97" y="107"/>
                </a:lnTo>
                <a:lnTo>
                  <a:pt x="104" y="107"/>
                </a:lnTo>
                <a:lnTo>
                  <a:pt x="104" y="98"/>
                </a:lnTo>
                <a:lnTo>
                  <a:pt x="114" y="98"/>
                </a:lnTo>
                <a:lnTo>
                  <a:pt x="123" y="88"/>
                </a:lnTo>
                <a:lnTo>
                  <a:pt x="130" y="88"/>
                </a:lnTo>
                <a:lnTo>
                  <a:pt x="140" y="81"/>
                </a:lnTo>
                <a:lnTo>
                  <a:pt x="149" y="71"/>
                </a:lnTo>
                <a:lnTo>
                  <a:pt x="156" y="62"/>
                </a:lnTo>
                <a:lnTo>
                  <a:pt x="166" y="71"/>
                </a:lnTo>
                <a:lnTo>
                  <a:pt x="173" y="62"/>
                </a:lnTo>
                <a:lnTo>
                  <a:pt x="182" y="62"/>
                </a:lnTo>
                <a:lnTo>
                  <a:pt x="182" y="55"/>
                </a:lnTo>
                <a:lnTo>
                  <a:pt x="192" y="55"/>
                </a:lnTo>
                <a:lnTo>
                  <a:pt x="199" y="45"/>
                </a:lnTo>
                <a:lnTo>
                  <a:pt x="218" y="55"/>
                </a:lnTo>
                <a:lnTo>
                  <a:pt x="225" y="55"/>
                </a:lnTo>
                <a:lnTo>
                  <a:pt x="234" y="45"/>
                </a:lnTo>
                <a:lnTo>
                  <a:pt x="260" y="45"/>
                </a:lnTo>
                <a:lnTo>
                  <a:pt x="260" y="55"/>
                </a:lnTo>
                <a:lnTo>
                  <a:pt x="268" y="62"/>
                </a:lnTo>
                <a:lnTo>
                  <a:pt x="268" y="71"/>
                </a:lnTo>
                <a:lnTo>
                  <a:pt x="268" y="81"/>
                </a:lnTo>
                <a:lnTo>
                  <a:pt x="268" y="88"/>
                </a:lnTo>
                <a:lnTo>
                  <a:pt x="277" y="98"/>
                </a:lnTo>
                <a:lnTo>
                  <a:pt x="303" y="88"/>
                </a:lnTo>
                <a:lnTo>
                  <a:pt x="313" y="88"/>
                </a:lnTo>
                <a:lnTo>
                  <a:pt x="313" y="98"/>
                </a:lnTo>
                <a:lnTo>
                  <a:pt x="322" y="98"/>
                </a:lnTo>
                <a:lnTo>
                  <a:pt x="339" y="98"/>
                </a:lnTo>
                <a:lnTo>
                  <a:pt x="339" y="88"/>
                </a:lnTo>
                <a:lnTo>
                  <a:pt x="339" y="81"/>
                </a:lnTo>
                <a:lnTo>
                  <a:pt x="339" y="71"/>
                </a:lnTo>
                <a:lnTo>
                  <a:pt x="346" y="71"/>
                </a:lnTo>
                <a:lnTo>
                  <a:pt x="355" y="62"/>
                </a:lnTo>
                <a:lnTo>
                  <a:pt x="355" y="55"/>
                </a:lnTo>
                <a:lnTo>
                  <a:pt x="341" y="50"/>
                </a:lnTo>
                <a:lnTo>
                  <a:pt x="355" y="38"/>
                </a:lnTo>
                <a:lnTo>
                  <a:pt x="355" y="29"/>
                </a:lnTo>
                <a:lnTo>
                  <a:pt x="381" y="12"/>
                </a:lnTo>
                <a:lnTo>
                  <a:pt x="381" y="19"/>
                </a:lnTo>
                <a:lnTo>
                  <a:pt x="381" y="29"/>
                </a:lnTo>
                <a:lnTo>
                  <a:pt x="381" y="38"/>
                </a:lnTo>
                <a:lnTo>
                  <a:pt x="398" y="38"/>
                </a:lnTo>
                <a:lnTo>
                  <a:pt x="407" y="29"/>
                </a:lnTo>
                <a:lnTo>
                  <a:pt x="417" y="12"/>
                </a:lnTo>
                <a:lnTo>
                  <a:pt x="407" y="12"/>
                </a:lnTo>
                <a:lnTo>
                  <a:pt x="407" y="3"/>
                </a:lnTo>
                <a:lnTo>
                  <a:pt x="417" y="3"/>
                </a:lnTo>
                <a:lnTo>
                  <a:pt x="428" y="0"/>
                </a:lnTo>
                <a:lnTo>
                  <a:pt x="436" y="10"/>
                </a:lnTo>
                <a:lnTo>
                  <a:pt x="438" y="17"/>
                </a:lnTo>
                <a:lnTo>
                  <a:pt x="440" y="17"/>
                </a:lnTo>
                <a:lnTo>
                  <a:pt x="450" y="17"/>
                </a:lnTo>
                <a:lnTo>
                  <a:pt x="469" y="17"/>
                </a:lnTo>
                <a:lnTo>
                  <a:pt x="478" y="5"/>
                </a:lnTo>
                <a:lnTo>
                  <a:pt x="492" y="3"/>
                </a:lnTo>
                <a:lnTo>
                  <a:pt x="507" y="8"/>
                </a:lnTo>
                <a:lnTo>
                  <a:pt x="514" y="22"/>
                </a:lnTo>
                <a:lnTo>
                  <a:pt x="516" y="29"/>
                </a:lnTo>
                <a:lnTo>
                  <a:pt x="518" y="43"/>
                </a:lnTo>
                <a:lnTo>
                  <a:pt x="516" y="55"/>
                </a:lnTo>
                <a:lnTo>
                  <a:pt x="514" y="57"/>
                </a:lnTo>
                <a:lnTo>
                  <a:pt x="523" y="57"/>
                </a:lnTo>
                <a:lnTo>
                  <a:pt x="516" y="67"/>
                </a:lnTo>
                <a:lnTo>
                  <a:pt x="533" y="76"/>
                </a:lnTo>
                <a:lnTo>
                  <a:pt x="544" y="81"/>
                </a:lnTo>
                <a:lnTo>
                  <a:pt x="563" y="95"/>
                </a:lnTo>
                <a:lnTo>
                  <a:pt x="563" y="114"/>
                </a:lnTo>
                <a:lnTo>
                  <a:pt x="566" y="126"/>
                </a:lnTo>
                <a:lnTo>
                  <a:pt x="573" y="133"/>
                </a:lnTo>
                <a:lnTo>
                  <a:pt x="573" y="157"/>
                </a:lnTo>
                <a:lnTo>
                  <a:pt x="577" y="164"/>
                </a:lnTo>
                <a:lnTo>
                  <a:pt x="592" y="183"/>
                </a:lnTo>
                <a:lnTo>
                  <a:pt x="596" y="202"/>
                </a:lnTo>
                <a:lnTo>
                  <a:pt x="596" y="228"/>
                </a:lnTo>
                <a:lnTo>
                  <a:pt x="592" y="244"/>
                </a:lnTo>
                <a:lnTo>
                  <a:pt x="559" y="266"/>
                </a:lnTo>
                <a:lnTo>
                  <a:pt x="566" y="275"/>
                </a:lnTo>
                <a:lnTo>
                  <a:pt x="580" y="280"/>
                </a:lnTo>
                <a:lnTo>
                  <a:pt x="575" y="306"/>
                </a:lnTo>
                <a:lnTo>
                  <a:pt x="575" y="311"/>
                </a:lnTo>
                <a:lnTo>
                  <a:pt x="577" y="315"/>
                </a:lnTo>
                <a:lnTo>
                  <a:pt x="573" y="339"/>
                </a:lnTo>
                <a:lnTo>
                  <a:pt x="577" y="346"/>
                </a:lnTo>
                <a:lnTo>
                  <a:pt x="573" y="353"/>
                </a:lnTo>
                <a:lnTo>
                  <a:pt x="585" y="363"/>
                </a:lnTo>
                <a:lnTo>
                  <a:pt x="592" y="374"/>
                </a:lnTo>
                <a:lnTo>
                  <a:pt x="606" y="396"/>
                </a:lnTo>
                <a:lnTo>
                  <a:pt x="599" y="398"/>
                </a:lnTo>
                <a:lnTo>
                  <a:pt x="599" y="410"/>
                </a:lnTo>
                <a:lnTo>
                  <a:pt x="606" y="412"/>
                </a:lnTo>
                <a:lnTo>
                  <a:pt x="613" y="424"/>
                </a:lnTo>
                <a:lnTo>
                  <a:pt x="606" y="443"/>
                </a:lnTo>
                <a:lnTo>
                  <a:pt x="596" y="450"/>
                </a:lnTo>
                <a:lnTo>
                  <a:pt x="580" y="448"/>
                </a:lnTo>
                <a:lnTo>
                  <a:pt x="561" y="462"/>
                </a:lnTo>
                <a:lnTo>
                  <a:pt x="556" y="472"/>
                </a:lnTo>
                <a:lnTo>
                  <a:pt x="549" y="486"/>
                </a:lnTo>
                <a:lnTo>
                  <a:pt x="540" y="488"/>
                </a:lnTo>
                <a:lnTo>
                  <a:pt x="533" y="500"/>
                </a:lnTo>
                <a:lnTo>
                  <a:pt x="528" y="509"/>
                </a:lnTo>
                <a:lnTo>
                  <a:pt x="525" y="528"/>
                </a:lnTo>
                <a:lnTo>
                  <a:pt x="525" y="535"/>
                </a:lnTo>
                <a:lnTo>
                  <a:pt x="525" y="545"/>
                </a:lnTo>
                <a:lnTo>
                  <a:pt x="523" y="552"/>
                </a:lnTo>
                <a:lnTo>
                  <a:pt x="523" y="561"/>
                </a:lnTo>
                <a:lnTo>
                  <a:pt x="514" y="576"/>
                </a:lnTo>
                <a:lnTo>
                  <a:pt x="511" y="561"/>
                </a:lnTo>
                <a:lnTo>
                  <a:pt x="502" y="561"/>
                </a:lnTo>
                <a:lnTo>
                  <a:pt x="495" y="561"/>
                </a:lnTo>
                <a:lnTo>
                  <a:pt x="485" y="561"/>
                </a:lnTo>
                <a:lnTo>
                  <a:pt x="476" y="554"/>
                </a:lnTo>
                <a:lnTo>
                  <a:pt x="469" y="545"/>
                </a:lnTo>
                <a:lnTo>
                  <a:pt x="459" y="538"/>
                </a:lnTo>
                <a:lnTo>
                  <a:pt x="450" y="538"/>
                </a:lnTo>
                <a:lnTo>
                  <a:pt x="440" y="519"/>
                </a:lnTo>
                <a:lnTo>
                  <a:pt x="433" y="528"/>
                </a:lnTo>
                <a:lnTo>
                  <a:pt x="424" y="538"/>
                </a:lnTo>
                <a:lnTo>
                  <a:pt x="398" y="545"/>
                </a:lnTo>
                <a:lnTo>
                  <a:pt x="398" y="538"/>
                </a:lnTo>
                <a:lnTo>
                  <a:pt x="398" y="519"/>
                </a:lnTo>
                <a:lnTo>
                  <a:pt x="391" y="528"/>
                </a:lnTo>
                <a:lnTo>
                  <a:pt x="381" y="528"/>
                </a:lnTo>
                <a:lnTo>
                  <a:pt x="372" y="519"/>
                </a:lnTo>
                <a:lnTo>
                  <a:pt x="355" y="528"/>
                </a:lnTo>
                <a:lnTo>
                  <a:pt x="355" y="538"/>
                </a:lnTo>
                <a:lnTo>
                  <a:pt x="346" y="545"/>
                </a:lnTo>
                <a:lnTo>
                  <a:pt x="346" y="528"/>
                </a:lnTo>
                <a:lnTo>
                  <a:pt x="339" y="519"/>
                </a:lnTo>
                <a:lnTo>
                  <a:pt x="329" y="528"/>
                </a:lnTo>
                <a:lnTo>
                  <a:pt x="322" y="528"/>
                </a:lnTo>
                <a:lnTo>
                  <a:pt x="313" y="538"/>
                </a:lnTo>
                <a:lnTo>
                  <a:pt x="303" y="528"/>
                </a:lnTo>
                <a:lnTo>
                  <a:pt x="286" y="528"/>
                </a:lnTo>
                <a:lnTo>
                  <a:pt x="277" y="519"/>
                </a:lnTo>
                <a:lnTo>
                  <a:pt x="268" y="512"/>
                </a:lnTo>
                <a:lnTo>
                  <a:pt x="260" y="502"/>
                </a:lnTo>
                <a:lnTo>
                  <a:pt x="244" y="502"/>
                </a:lnTo>
                <a:lnTo>
                  <a:pt x="225" y="493"/>
                </a:lnTo>
                <a:lnTo>
                  <a:pt x="218" y="483"/>
                </a:lnTo>
                <a:lnTo>
                  <a:pt x="199" y="460"/>
                </a:lnTo>
                <a:lnTo>
                  <a:pt x="192" y="467"/>
                </a:lnTo>
                <a:lnTo>
                  <a:pt x="182" y="460"/>
                </a:lnTo>
                <a:lnTo>
                  <a:pt x="166" y="460"/>
                </a:lnTo>
                <a:lnTo>
                  <a:pt x="156" y="460"/>
                </a:lnTo>
                <a:lnTo>
                  <a:pt x="166" y="467"/>
                </a:lnTo>
                <a:lnTo>
                  <a:pt x="156" y="467"/>
                </a:lnTo>
                <a:lnTo>
                  <a:pt x="149" y="476"/>
                </a:lnTo>
                <a:lnTo>
                  <a:pt x="149" y="483"/>
                </a:lnTo>
                <a:lnTo>
                  <a:pt x="140" y="467"/>
                </a:lnTo>
                <a:lnTo>
                  <a:pt x="130" y="460"/>
                </a:lnTo>
                <a:lnTo>
                  <a:pt x="114" y="460"/>
                </a:lnTo>
                <a:lnTo>
                  <a:pt x="123" y="450"/>
                </a:lnTo>
                <a:lnTo>
                  <a:pt x="130" y="441"/>
                </a:lnTo>
                <a:lnTo>
                  <a:pt x="123" y="434"/>
                </a:lnTo>
                <a:lnTo>
                  <a:pt x="104" y="434"/>
                </a:lnTo>
                <a:lnTo>
                  <a:pt x="88" y="424"/>
                </a:lnTo>
                <a:lnTo>
                  <a:pt x="78" y="424"/>
                </a:lnTo>
                <a:lnTo>
                  <a:pt x="71" y="415"/>
                </a:lnTo>
                <a:lnTo>
                  <a:pt x="62" y="415"/>
                </a:lnTo>
                <a:lnTo>
                  <a:pt x="62" y="408"/>
                </a:lnTo>
                <a:lnTo>
                  <a:pt x="62" y="398"/>
                </a:lnTo>
                <a:lnTo>
                  <a:pt x="62" y="382"/>
                </a:lnTo>
                <a:lnTo>
                  <a:pt x="52" y="382"/>
                </a:lnTo>
                <a:lnTo>
                  <a:pt x="40" y="384"/>
                </a:lnTo>
                <a:lnTo>
                  <a:pt x="36" y="391"/>
                </a:lnTo>
                <a:lnTo>
                  <a:pt x="36" y="382"/>
                </a:lnTo>
                <a:lnTo>
                  <a:pt x="36" y="356"/>
                </a:lnTo>
                <a:lnTo>
                  <a:pt x="45" y="346"/>
                </a:lnTo>
                <a:lnTo>
                  <a:pt x="36" y="346"/>
                </a:lnTo>
                <a:lnTo>
                  <a:pt x="36" y="339"/>
                </a:lnTo>
                <a:lnTo>
                  <a:pt x="36" y="329"/>
                </a:lnTo>
                <a:lnTo>
                  <a:pt x="36" y="303"/>
                </a:lnTo>
                <a:lnTo>
                  <a:pt x="36" y="296"/>
                </a:lnTo>
                <a:lnTo>
                  <a:pt x="26" y="277"/>
                </a:lnTo>
                <a:lnTo>
                  <a:pt x="26" y="270"/>
                </a:lnTo>
                <a:lnTo>
                  <a:pt x="26" y="261"/>
                </a:lnTo>
                <a:lnTo>
                  <a:pt x="36" y="251"/>
                </a:lnTo>
                <a:lnTo>
                  <a:pt x="26" y="251"/>
                </a:lnTo>
                <a:lnTo>
                  <a:pt x="19" y="244"/>
                </a:lnTo>
                <a:lnTo>
                  <a:pt x="19" y="235"/>
                </a:lnTo>
                <a:lnTo>
                  <a:pt x="10" y="228"/>
                </a:lnTo>
                <a:lnTo>
                  <a:pt x="0" y="209"/>
                </a:lnTo>
                <a:lnTo>
                  <a:pt x="10" y="202"/>
                </a:lnTo>
                <a:lnTo>
                  <a:pt x="19" y="192"/>
                </a:lnTo>
                <a:lnTo>
                  <a:pt x="19" y="185"/>
                </a:lnTo>
                <a:lnTo>
                  <a:pt x="19" y="176"/>
                </a:lnTo>
                <a:lnTo>
                  <a:pt x="19" y="166"/>
                </a:lnTo>
                <a:lnTo>
                  <a:pt x="19" y="159"/>
                </a:lnTo>
                <a:lnTo>
                  <a:pt x="19" y="14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5" name="Freeform 542">
            <a:extLst>
              <a:ext uri="{FF2B5EF4-FFF2-40B4-BE49-F238E27FC236}">
                <a16:creationId xmlns:a16="http://schemas.microsoft.com/office/drawing/2014/main" id="{ED8C5D19-0D2A-4711-AF0C-3C61AC8F793D}"/>
              </a:ext>
            </a:extLst>
          </p:cNvPr>
          <p:cNvSpPr>
            <a:spLocks/>
          </p:cNvSpPr>
          <p:nvPr/>
        </p:nvSpPr>
        <p:spPr bwMode="auto">
          <a:xfrm>
            <a:off x="2421288" y="3257791"/>
            <a:ext cx="398101" cy="252932"/>
          </a:xfrm>
          <a:custGeom>
            <a:avLst/>
            <a:gdLst>
              <a:gd name="T0" fmla="*/ 69 w 447"/>
              <a:gd name="T1" fmla="*/ 277 h 284"/>
              <a:gd name="T2" fmla="*/ 104 w 447"/>
              <a:gd name="T3" fmla="*/ 277 h 284"/>
              <a:gd name="T4" fmla="*/ 130 w 447"/>
              <a:gd name="T5" fmla="*/ 284 h 284"/>
              <a:gd name="T6" fmla="*/ 147 w 447"/>
              <a:gd name="T7" fmla="*/ 268 h 284"/>
              <a:gd name="T8" fmla="*/ 163 w 447"/>
              <a:gd name="T9" fmla="*/ 258 h 284"/>
              <a:gd name="T10" fmla="*/ 173 w 447"/>
              <a:gd name="T11" fmla="*/ 258 h 284"/>
              <a:gd name="T12" fmla="*/ 189 w 447"/>
              <a:gd name="T13" fmla="*/ 268 h 284"/>
              <a:gd name="T14" fmla="*/ 199 w 447"/>
              <a:gd name="T15" fmla="*/ 277 h 284"/>
              <a:gd name="T16" fmla="*/ 225 w 447"/>
              <a:gd name="T17" fmla="*/ 268 h 284"/>
              <a:gd name="T18" fmla="*/ 251 w 447"/>
              <a:gd name="T19" fmla="*/ 268 h 284"/>
              <a:gd name="T20" fmla="*/ 275 w 447"/>
              <a:gd name="T21" fmla="*/ 258 h 284"/>
              <a:gd name="T22" fmla="*/ 303 w 447"/>
              <a:gd name="T23" fmla="*/ 251 h 284"/>
              <a:gd name="T24" fmla="*/ 293 w 447"/>
              <a:gd name="T25" fmla="*/ 232 h 284"/>
              <a:gd name="T26" fmla="*/ 310 w 447"/>
              <a:gd name="T27" fmla="*/ 232 h 284"/>
              <a:gd name="T28" fmla="*/ 322 w 447"/>
              <a:gd name="T29" fmla="*/ 225 h 284"/>
              <a:gd name="T30" fmla="*/ 334 w 447"/>
              <a:gd name="T31" fmla="*/ 209 h 284"/>
              <a:gd name="T32" fmla="*/ 346 w 447"/>
              <a:gd name="T33" fmla="*/ 199 h 284"/>
              <a:gd name="T34" fmla="*/ 362 w 447"/>
              <a:gd name="T35" fmla="*/ 199 h 284"/>
              <a:gd name="T36" fmla="*/ 372 w 447"/>
              <a:gd name="T37" fmla="*/ 209 h 284"/>
              <a:gd name="T38" fmla="*/ 398 w 447"/>
              <a:gd name="T39" fmla="*/ 209 h 284"/>
              <a:gd name="T40" fmla="*/ 424 w 447"/>
              <a:gd name="T41" fmla="*/ 199 h 284"/>
              <a:gd name="T42" fmla="*/ 414 w 447"/>
              <a:gd name="T43" fmla="*/ 183 h 284"/>
              <a:gd name="T44" fmla="*/ 405 w 447"/>
              <a:gd name="T45" fmla="*/ 164 h 284"/>
              <a:gd name="T46" fmla="*/ 379 w 447"/>
              <a:gd name="T47" fmla="*/ 173 h 284"/>
              <a:gd name="T48" fmla="*/ 379 w 447"/>
              <a:gd name="T49" fmla="*/ 147 h 284"/>
              <a:gd name="T50" fmla="*/ 398 w 447"/>
              <a:gd name="T51" fmla="*/ 140 h 284"/>
              <a:gd name="T52" fmla="*/ 405 w 447"/>
              <a:gd name="T53" fmla="*/ 121 h 284"/>
              <a:gd name="T54" fmla="*/ 398 w 447"/>
              <a:gd name="T55" fmla="*/ 95 h 284"/>
              <a:gd name="T56" fmla="*/ 405 w 447"/>
              <a:gd name="T57" fmla="*/ 78 h 284"/>
              <a:gd name="T58" fmla="*/ 424 w 447"/>
              <a:gd name="T59" fmla="*/ 62 h 284"/>
              <a:gd name="T60" fmla="*/ 447 w 447"/>
              <a:gd name="T61" fmla="*/ 52 h 284"/>
              <a:gd name="T62" fmla="*/ 440 w 447"/>
              <a:gd name="T63" fmla="*/ 26 h 284"/>
              <a:gd name="T64" fmla="*/ 395 w 447"/>
              <a:gd name="T65" fmla="*/ 12 h 284"/>
              <a:gd name="T66" fmla="*/ 381 w 447"/>
              <a:gd name="T67" fmla="*/ 12 h 284"/>
              <a:gd name="T68" fmla="*/ 353 w 447"/>
              <a:gd name="T69" fmla="*/ 10 h 284"/>
              <a:gd name="T70" fmla="*/ 329 w 447"/>
              <a:gd name="T71" fmla="*/ 10 h 284"/>
              <a:gd name="T72" fmla="*/ 284 w 447"/>
              <a:gd name="T73" fmla="*/ 10 h 284"/>
              <a:gd name="T74" fmla="*/ 258 w 447"/>
              <a:gd name="T75" fmla="*/ 36 h 284"/>
              <a:gd name="T76" fmla="*/ 225 w 447"/>
              <a:gd name="T77" fmla="*/ 62 h 284"/>
              <a:gd name="T78" fmla="*/ 199 w 447"/>
              <a:gd name="T79" fmla="*/ 69 h 284"/>
              <a:gd name="T80" fmla="*/ 173 w 447"/>
              <a:gd name="T81" fmla="*/ 62 h 284"/>
              <a:gd name="T82" fmla="*/ 147 w 447"/>
              <a:gd name="T83" fmla="*/ 62 h 284"/>
              <a:gd name="T84" fmla="*/ 111 w 447"/>
              <a:gd name="T85" fmla="*/ 62 h 284"/>
              <a:gd name="T86" fmla="*/ 85 w 447"/>
              <a:gd name="T87" fmla="*/ 52 h 284"/>
              <a:gd name="T88" fmla="*/ 52 w 447"/>
              <a:gd name="T89" fmla="*/ 52 h 284"/>
              <a:gd name="T90" fmla="*/ 43 w 447"/>
              <a:gd name="T91" fmla="*/ 36 h 284"/>
              <a:gd name="T92" fmla="*/ 26 w 447"/>
              <a:gd name="T93" fmla="*/ 19 h 284"/>
              <a:gd name="T94" fmla="*/ 17 w 447"/>
              <a:gd name="T95" fmla="*/ 36 h 284"/>
              <a:gd name="T96" fmla="*/ 0 w 447"/>
              <a:gd name="T97" fmla="*/ 45 h 284"/>
              <a:gd name="T98" fmla="*/ 7 w 447"/>
              <a:gd name="T99" fmla="*/ 78 h 284"/>
              <a:gd name="T100" fmla="*/ 17 w 447"/>
              <a:gd name="T101" fmla="*/ 95 h 284"/>
              <a:gd name="T102" fmla="*/ 33 w 447"/>
              <a:gd name="T103" fmla="*/ 95 h 284"/>
              <a:gd name="T104" fmla="*/ 33 w 447"/>
              <a:gd name="T105" fmla="*/ 114 h 284"/>
              <a:gd name="T106" fmla="*/ 17 w 447"/>
              <a:gd name="T107" fmla="*/ 131 h 284"/>
              <a:gd name="T108" fmla="*/ 17 w 447"/>
              <a:gd name="T109" fmla="*/ 157 h 284"/>
              <a:gd name="T110" fmla="*/ 7 w 447"/>
              <a:gd name="T111" fmla="*/ 173 h 284"/>
              <a:gd name="T112" fmla="*/ 7 w 447"/>
              <a:gd name="T113" fmla="*/ 199 h 284"/>
              <a:gd name="T114" fmla="*/ 33 w 447"/>
              <a:gd name="T115" fmla="*/ 216 h 284"/>
              <a:gd name="T116" fmla="*/ 52 w 447"/>
              <a:gd name="T117" fmla="*/ 232 h 284"/>
              <a:gd name="T118" fmla="*/ 59 w 447"/>
              <a:gd name="T119" fmla="*/ 251 h 284"/>
              <a:gd name="T120" fmla="*/ 52 w 447"/>
              <a:gd name="T121" fmla="*/ 268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7" h="284">
                <a:moveTo>
                  <a:pt x="52" y="277"/>
                </a:moveTo>
                <a:lnTo>
                  <a:pt x="69" y="277"/>
                </a:lnTo>
                <a:lnTo>
                  <a:pt x="85" y="277"/>
                </a:lnTo>
                <a:lnTo>
                  <a:pt x="104" y="277"/>
                </a:lnTo>
                <a:lnTo>
                  <a:pt x="121" y="277"/>
                </a:lnTo>
                <a:lnTo>
                  <a:pt x="130" y="284"/>
                </a:lnTo>
                <a:lnTo>
                  <a:pt x="147" y="277"/>
                </a:lnTo>
                <a:lnTo>
                  <a:pt x="147" y="268"/>
                </a:lnTo>
                <a:lnTo>
                  <a:pt x="154" y="268"/>
                </a:lnTo>
                <a:lnTo>
                  <a:pt x="163" y="258"/>
                </a:lnTo>
                <a:lnTo>
                  <a:pt x="173" y="268"/>
                </a:lnTo>
                <a:lnTo>
                  <a:pt x="173" y="258"/>
                </a:lnTo>
                <a:lnTo>
                  <a:pt x="180" y="258"/>
                </a:lnTo>
                <a:lnTo>
                  <a:pt x="189" y="268"/>
                </a:lnTo>
                <a:lnTo>
                  <a:pt x="199" y="268"/>
                </a:lnTo>
                <a:lnTo>
                  <a:pt x="199" y="277"/>
                </a:lnTo>
                <a:lnTo>
                  <a:pt x="215" y="268"/>
                </a:lnTo>
                <a:lnTo>
                  <a:pt x="225" y="268"/>
                </a:lnTo>
                <a:lnTo>
                  <a:pt x="232" y="268"/>
                </a:lnTo>
                <a:lnTo>
                  <a:pt x="251" y="268"/>
                </a:lnTo>
                <a:lnTo>
                  <a:pt x="258" y="258"/>
                </a:lnTo>
                <a:lnTo>
                  <a:pt x="275" y="258"/>
                </a:lnTo>
                <a:lnTo>
                  <a:pt x="293" y="258"/>
                </a:lnTo>
                <a:lnTo>
                  <a:pt x="303" y="251"/>
                </a:lnTo>
                <a:lnTo>
                  <a:pt x="293" y="242"/>
                </a:lnTo>
                <a:lnTo>
                  <a:pt x="293" y="232"/>
                </a:lnTo>
                <a:lnTo>
                  <a:pt x="303" y="232"/>
                </a:lnTo>
                <a:lnTo>
                  <a:pt x="310" y="232"/>
                </a:lnTo>
                <a:lnTo>
                  <a:pt x="310" y="225"/>
                </a:lnTo>
                <a:lnTo>
                  <a:pt x="322" y="225"/>
                </a:lnTo>
                <a:lnTo>
                  <a:pt x="324" y="209"/>
                </a:lnTo>
                <a:lnTo>
                  <a:pt x="334" y="209"/>
                </a:lnTo>
                <a:lnTo>
                  <a:pt x="336" y="209"/>
                </a:lnTo>
                <a:lnTo>
                  <a:pt x="346" y="199"/>
                </a:lnTo>
                <a:lnTo>
                  <a:pt x="353" y="199"/>
                </a:lnTo>
                <a:lnTo>
                  <a:pt x="362" y="199"/>
                </a:lnTo>
                <a:lnTo>
                  <a:pt x="372" y="199"/>
                </a:lnTo>
                <a:lnTo>
                  <a:pt x="372" y="209"/>
                </a:lnTo>
                <a:lnTo>
                  <a:pt x="379" y="209"/>
                </a:lnTo>
                <a:lnTo>
                  <a:pt x="398" y="209"/>
                </a:lnTo>
                <a:lnTo>
                  <a:pt x="424" y="209"/>
                </a:lnTo>
                <a:lnTo>
                  <a:pt x="424" y="199"/>
                </a:lnTo>
                <a:lnTo>
                  <a:pt x="424" y="183"/>
                </a:lnTo>
                <a:lnTo>
                  <a:pt x="414" y="183"/>
                </a:lnTo>
                <a:lnTo>
                  <a:pt x="405" y="173"/>
                </a:lnTo>
                <a:lnTo>
                  <a:pt x="405" y="164"/>
                </a:lnTo>
                <a:lnTo>
                  <a:pt x="388" y="164"/>
                </a:lnTo>
                <a:lnTo>
                  <a:pt x="379" y="173"/>
                </a:lnTo>
                <a:lnTo>
                  <a:pt x="379" y="157"/>
                </a:lnTo>
                <a:lnTo>
                  <a:pt x="379" y="147"/>
                </a:lnTo>
                <a:lnTo>
                  <a:pt x="388" y="140"/>
                </a:lnTo>
                <a:lnTo>
                  <a:pt x="398" y="140"/>
                </a:lnTo>
                <a:lnTo>
                  <a:pt x="398" y="131"/>
                </a:lnTo>
                <a:lnTo>
                  <a:pt x="405" y="121"/>
                </a:lnTo>
                <a:lnTo>
                  <a:pt x="398" y="114"/>
                </a:lnTo>
                <a:lnTo>
                  <a:pt x="398" y="95"/>
                </a:lnTo>
                <a:lnTo>
                  <a:pt x="405" y="95"/>
                </a:lnTo>
                <a:lnTo>
                  <a:pt x="405" y="78"/>
                </a:lnTo>
                <a:lnTo>
                  <a:pt x="405" y="62"/>
                </a:lnTo>
                <a:lnTo>
                  <a:pt x="424" y="62"/>
                </a:lnTo>
                <a:lnTo>
                  <a:pt x="440" y="62"/>
                </a:lnTo>
                <a:lnTo>
                  <a:pt x="447" y="52"/>
                </a:lnTo>
                <a:lnTo>
                  <a:pt x="440" y="31"/>
                </a:lnTo>
                <a:lnTo>
                  <a:pt x="440" y="26"/>
                </a:lnTo>
                <a:lnTo>
                  <a:pt x="405" y="15"/>
                </a:lnTo>
                <a:lnTo>
                  <a:pt x="395" y="12"/>
                </a:lnTo>
                <a:lnTo>
                  <a:pt x="390" y="12"/>
                </a:lnTo>
                <a:lnTo>
                  <a:pt x="381" y="12"/>
                </a:lnTo>
                <a:lnTo>
                  <a:pt x="362" y="15"/>
                </a:lnTo>
                <a:lnTo>
                  <a:pt x="353" y="10"/>
                </a:lnTo>
                <a:lnTo>
                  <a:pt x="336" y="10"/>
                </a:lnTo>
                <a:lnTo>
                  <a:pt x="329" y="10"/>
                </a:lnTo>
                <a:lnTo>
                  <a:pt x="320" y="0"/>
                </a:lnTo>
                <a:lnTo>
                  <a:pt x="284" y="10"/>
                </a:lnTo>
                <a:lnTo>
                  <a:pt x="275" y="19"/>
                </a:lnTo>
                <a:lnTo>
                  <a:pt x="258" y="36"/>
                </a:lnTo>
                <a:lnTo>
                  <a:pt x="241" y="52"/>
                </a:lnTo>
                <a:lnTo>
                  <a:pt x="225" y="62"/>
                </a:lnTo>
                <a:lnTo>
                  <a:pt x="215" y="69"/>
                </a:lnTo>
                <a:lnTo>
                  <a:pt x="199" y="69"/>
                </a:lnTo>
                <a:lnTo>
                  <a:pt x="180" y="62"/>
                </a:lnTo>
                <a:lnTo>
                  <a:pt x="173" y="62"/>
                </a:lnTo>
                <a:lnTo>
                  <a:pt x="154" y="62"/>
                </a:lnTo>
                <a:lnTo>
                  <a:pt x="147" y="62"/>
                </a:lnTo>
                <a:lnTo>
                  <a:pt x="130" y="62"/>
                </a:lnTo>
                <a:lnTo>
                  <a:pt x="111" y="62"/>
                </a:lnTo>
                <a:lnTo>
                  <a:pt x="104" y="52"/>
                </a:lnTo>
                <a:lnTo>
                  <a:pt x="85" y="52"/>
                </a:lnTo>
                <a:lnTo>
                  <a:pt x="69" y="52"/>
                </a:lnTo>
                <a:lnTo>
                  <a:pt x="52" y="52"/>
                </a:lnTo>
                <a:lnTo>
                  <a:pt x="43" y="45"/>
                </a:lnTo>
                <a:lnTo>
                  <a:pt x="43" y="36"/>
                </a:lnTo>
                <a:lnTo>
                  <a:pt x="43" y="19"/>
                </a:lnTo>
                <a:lnTo>
                  <a:pt x="26" y="19"/>
                </a:lnTo>
                <a:lnTo>
                  <a:pt x="33" y="19"/>
                </a:lnTo>
                <a:lnTo>
                  <a:pt x="17" y="36"/>
                </a:lnTo>
                <a:lnTo>
                  <a:pt x="7" y="45"/>
                </a:lnTo>
                <a:lnTo>
                  <a:pt x="0" y="45"/>
                </a:lnTo>
                <a:lnTo>
                  <a:pt x="7" y="62"/>
                </a:lnTo>
                <a:lnTo>
                  <a:pt x="7" y="78"/>
                </a:lnTo>
                <a:lnTo>
                  <a:pt x="17" y="88"/>
                </a:lnTo>
                <a:lnTo>
                  <a:pt x="17" y="95"/>
                </a:lnTo>
                <a:lnTo>
                  <a:pt x="26" y="95"/>
                </a:lnTo>
                <a:lnTo>
                  <a:pt x="33" y="95"/>
                </a:lnTo>
                <a:lnTo>
                  <a:pt x="43" y="104"/>
                </a:lnTo>
                <a:lnTo>
                  <a:pt x="33" y="114"/>
                </a:lnTo>
                <a:lnTo>
                  <a:pt x="33" y="121"/>
                </a:lnTo>
                <a:lnTo>
                  <a:pt x="17" y="131"/>
                </a:lnTo>
                <a:lnTo>
                  <a:pt x="17" y="140"/>
                </a:lnTo>
                <a:lnTo>
                  <a:pt x="17" y="157"/>
                </a:lnTo>
                <a:lnTo>
                  <a:pt x="7" y="157"/>
                </a:lnTo>
                <a:lnTo>
                  <a:pt x="7" y="173"/>
                </a:lnTo>
                <a:lnTo>
                  <a:pt x="7" y="183"/>
                </a:lnTo>
                <a:lnTo>
                  <a:pt x="7" y="199"/>
                </a:lnTo>
                <a:lnTo>
                  <a:pt x="26" y="209"/>
                </a:lnTo>
                <a:lnTo>
                  <a:pt x="33" y="216"/>
                </a:lnTo>
                <a:lnTo>
                  <a:pt x="43" y="225"/>
                </a:lnTo>
                <a:lnTo>
                  <a:pt x="52" y="232"/>
                </a:lnTo>
                <a:lnTo>
                  <a:pt x="59" y="242"/>
                </a:lnTo>
                <a:lnTo>
                  <a:pt x="59" y="251"/>
                </a:lnTo>
                <a:lnTo>
                  <a:pt x="59" y="258"/>
                </a:lnTo>
                <a:lnTo>
                  <a:pt x="52" y="268"/>
                </a:lnTo>
                <a:lnTo>
                  <a:pt x="52" y="27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6" name="Freeform 543">
            <a:extLst>
              <a:ext uri="{FF2B5EF4-FFF2-40B4-BE49-F238E27FC236}">
                <a16:creationId xmlns:a16="http://schemas.microsoft.com/office/drawing/2014/main" id="{00BD8AF2-C92B-49E5-8F79-6512EBFAFB7F}"/>
              </a:ext>
            </a:extLst>
          </p:cNvPr>
          <p:cNvSpPr>
            <a:spLocks/>
          </p:cNvSpPr>
          <p:nvPr/>
        </p:nvSpPr>
        <p:spPr bwMode="auto">
          <a:xfrm>
            <a:off x="2316197" y="2910458"/>
            <a:ext cx="553956" cy="415022"/>
          </a:xfrm>
          <a:custGeom>
            <a:avLst/>
            <a:gdLst>
              <a:gd name="T0" fmla="*/ 137 w 622"/>
              <a:gd name="T1" fmla="*/ 390 h 466"/>
              <a:gd name="T2" fmla="*/ 137 w 622"/>
              <a:gd name="T3" fmla="*/ 364 h 466"/>
              <a:gd name="T4" fmla="*/ 94 w 622"/>
              <a:gd name="T5" fmla="*/ 374 h 466"/>
              <a:gd name="T6" fmla="*/ 59 w 622"/>
              <a:gd name="T7" fmla="*/ 364 h 466"/>
              <a:gd name="T8" fmla="*/ 52 w 622"/>
              <a:gd name="T9" fmla="*/ 348 h 466"/>
              <a:gd name="T10" fmla="*/ 52 w 622"/>
              <a:gd name="T11" fmla="*/ 322 h 466"/>
              <a:gd name="T12" fmla="*/ 26 w 622"/>
              <a:gd name="T13" fmla="*/ 312 h 466"/>
              <a:gd name="T14" fmla="*/ 16 w 622"/>
              <a:gd name="T15" fmla="*/ 279 h 466"/>
              <a:gd name="T16" fmla="*/ 9 w 622"/>
              <a:gd name="T17" fmla="*/ 253 h 466"/>
              <a:gd name="T18" fmla="*/ 9 w 622"/>
              <a:gd name="T19" fmla="*/ 236 h 466"/>
              <a:gd name="T20" fmla="*/ 35 w 622"/>
              <a:gd name="T21" fmla="*/ 201 h 466"/>
              <a:gd name="T22" fmla="*/ 52 w 622"/>
              <a:gd name="T23" fmla="*/ 175 h 466"/>
              <a:gd name="T24" fmla="*/ 78 w 622"/>
              <a:gd name="T25" fmla="*/ 158 h 466"/>
              <a:gd name="T26" fmla="*/ 85 w 622"/>
              <a:gd name="T27" fmla="*/ 106 h 466"/>
              <a:gd name="T28" fmla="*/ 113 w 622"/>
              <a:gd name="T29" fmla="*/ 90 h 466"/>
              <a:gd name="T30" fmla="*/ 139 w 622"/>
              <a:gd name="T31" fmla="*/ 64 h 466"/>
              <a:gd name="T32" fmla="*/ 139 w 622"/>
              <a:gd name="T33" fmla="*/ 31 h 466"/>
              <a:gd name="T34" fmla="*/ 191 w 622"/>
              <a:gd name="T35" fmla="*/ 40 h 466"/>
              <a:gd name="T36" fmla="*/ 227 w 622"/>
              <a:gd name="T37" fmla="*/ 38 h 466"/>
              <a:gd name="T38" fmla="*/ 277 w 622"/>
              <a:gd name="T39" fmla="*/ 45 h 466"/>
              <a:gd name="T40" fmla="*/ 310 w 622"/>
              <a:gd name="T41" fmla="*/ 26 h 466"/>
              <a:gd name="T42" fmla="*/ 343 w 622"/>
              <a:gd name="T43" fmla="*/ 19 h 466"/>
              <a:gd name="T44" fmla="*/ 388 w 622"/>
              <a:gd name="T45" fmla="*/ 7 h 466"/>
              <a:gd name="T46" fmla="*/ 440 w 622"/>
              <a:gd name="T47" fmla="*/ 38 h 466"/>
              <a:gd name="T48" fmla="*/ 475 w 622"/>
              <a:gd name="T49" fmla="*/ 80 h 466"/>
              <a:gd name="T50" fmla="*/ 492 w 622"/>
              <a:gd name="T51" fmla="*/ 116 h 466"/>
              <a:gd name="T52" fmla="*/ 518 w 622"/>
              <a:gd name="T53" fmla="*/ 149 h 466"/>
              <a:gd name="T54" fmla="*/ 508 w 622"/>
              <a:gd name="T55" fmla="*/ 175 h 466"/>
              <a:gd name="T56" fmla="*/ 518 w 622"/>
              <a:gd name="T57" fmla="*/ 201 h 466"/>
              <a:gd name="T58" fmla="*/ 518 w 622"/>
              <a:gd name="T59" fmla="*/ 244 h 466"/>
              <a:gd name="T60" fmla="*/ 553 w 622"/>
              <a:gd name="T61" fmla="*/ 258 h 466"/>
              <a:gd name="T62" fmla="*/ 572 w 622"/>
              <a:gd name="T63" fmla="*/ 248 h 466"/>
              <a:gd name="T64" fmla="*/ 603 w 622"/>
              <a:gd name="T65" fmla="*/ 258 h 466"/>
              <a:gd name="T66" fmla="*/ 622 w 622"/>
              <a:gd name="T67" fmla="*/ 296 h 466"/>
              <a:gd name="T68" fmla="*/ 603 w 622"/>
              <a:gd name="T69" fmla="*/ 322 h 466"/>
              <a:gd name="T70" fmla="*/ 587 w 622"/>
              <a:gd name="T71" fmla="*/ 312 h 466"/>
              <a:gd name="T72" fmla="*/ 570 w 622"/>
              <a:gd name="T73" fmla="*/ 322 h 466"/>
              <a:gd name="T74" fmla="*/ 570 w 622"/>
              <a:gd name="T75" fmla="*/ 348 h 466"/>
              <a:gd name="T76" fmla="*/ 561 w 622"/>
              <a:gd name="T77" fmla="*/ 364 h 466"/>
              <a:gd name="T78" fmla="*/ 570 w 622"/>
              <a:gd name="T79" fmla="*/ 400 h 466"/>
              <a:gd name="T80" fmla="*/ 561 w 622"/>
              <a:gd name="T81" fmla="*/ 428 h 466"/>
              <a:gd name="T82" fmla="*/ 508 w 622"/>
              <a:gd name="T83" fmla="*/ 407 h 466"/>
              <a:gd name="T84" fmla="*/ 473 w 622"/>
              <a:gd name="T85" fmla="*/ 405 h 466"/>
              <a:gd name="T86" fmla="*/ 440 w 622"/>
              <a:gd name="T87" fmla="*/ 395 h 466"/>
              <a:gd name="T88" fmla="*/ 383 w 622"/>
              <a:gd name="T89" fmla="*/ 428 h 466"/>
              <a:gd name="T90" fmla="*/ 338 w 622"/>
              <a:gd name="T91" fmla="*/ 461 h 466"/>
              <a:gd name="T92" fmla="*/ 293 w 622"/>
              <a:gd name="T93" fmla="*/ 457 h 466"/>
              <a:gd name="T94" fmla="*/ 251 w 622"/>
              <a:gd name="T95" fmla="*/ 457 h 466"/>
              <a:gd name="T96" fmla="*/ 208 w 622"/>
              <a:gd name="T97" fmla="*/ 450 h 466"/>
              <a:gd name="T98" fmla="*/ 163 w 622"/>
              <a:gd name="T99" fmla="*/ 445 h 466"/>
              <a:gd name="T100" fmla="*/ 156 w 622"/>
              <a:gd name="T101" fmla="*/ 416 h 4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2" h="466">
                <a:moveTo>
                  <a:pt x="156" y="412"/>
                </a:moveTo>
                <a:lnTo>
                  <a:pt x="147" y="395"/>
                </a:lnTo>
                <a:lnTo>
                  <a:pt x="137" y="390"/>
                </a:lnTo>
                <a:lnTo>
                  <a:pt x="137" y="381"/>
                </a:lnTo>
                <a:lnTo>
                  <a:pt x="147" y="374"/>
                </a:lnTo>
                <a:lnTo>
                  <a:pt x="137" y="364"/>
                </a:lnTo>
                <a:lnTo>
                  <a:pt x="121" y="374"/>
                </a:lnTo>
                <a:lnTo>
                  <a:pt x="113" y="381"/>
                </a:lnTo>
                <a:lnTo>
                  <a:pt x="94" y="374"/>
                </a:lnTo>
                <a:lnTo>
                  <a:pt x="85" y="364"/>
                </a:lnTo>
                <a:lnTo>
                  <a:pt x="78" y="364"/>
                </a:lnTo>
                <a:lnTo>
                  <a:pt x="59" y="364"/>
                </a:lnTo>
                <a:lnTo>
                  <a:pt x="52" y="364"/>
                </a:lnTo>
                <a:lnTo>
                  <a:pt x="52" y="355"/>
                </a:lnTo>
                <a:lnTo>
                  <a:pt x="52" y="348"/>
                </a:lnTo>
                <a:lnTo>
                  <a:pt x="59" y="338"/>
                </a:lnTo>
                <a:lnTo>
                  <a:pt x="59" y="331"/>
                </a:lnTo>
                <a:lnTo>
                  <a:pt x="52" y="322"/>
                </a:lnTo>
                <a:lnTo>
                  <a:pt x="42" y="312"/>
                </a:lnTo>
                <a:lnTo>
                  <a:pt x="35" y="312"/>
                </a:lnTo>
                <a:lnTo>
                  <a:pt x="26" y="312"/>
                </a:lnTo>
                <a:lnTo>
                  <a:pt x="26" y="296"/>
                </a:lnTo>
                <a:lnTo>
                  <a:pt x="16" y="286"/>
                </a:lnTo>
                <a:lnTo>
                  <a:pt x="16" y="279"/>
                </a:lnTo>
                <a:lnTo>
                  <a:pt x="16" y="260"/>
                </a:lnTo>
                <a:lnTo>
                  <a:pt x="16" y="253"/>
                </a:lnTo>
                <a:lnTo>
                  <a:pt x="9" y="253"/>
                </a:lnTo>
                <a:lnTo>
                  <a:pt x="0" y="253"/>
                </a:lnTo>
                <a:lnTo>
                  <a:pt x="9" y="236"/>
                </a:lnTo>
                <a:lnTo>
                  <a:pt x="9" y="236"/>
                </a:lnTo>
                <a:lnTo>
                  <a:pt x="16" y="218"/>
                </a:lnTo>
                <a:lnTo>
                  <a:pt x="26" y="210"/>
                </a:lnTo>
                <a:lnTo>
                  <a:pt x="35" y="201"/>
                </a:lnTo>
                <a:lnTo>
                  <a:pt x="45" y="194"/>
                </a:lnTo>
                <a:lnTo>
                  <a:pt x="52" y="184"/>
                </a:lnTo>
                <a:lnTo>
                  <a:pt x="52" y="175"/>
                </a:lnTo>
                <a:lnTo>
                  <a:pt x="61" y="175"/>
                </a:lnTo>
                <a:lnTo>
                  <a:pt x="68" y="168"/>
                </a:lnTo>
                <a:lnTo>
                  <a:pt x="78" y="158"/>
                </a:lnTo>
                <a:lnTo>
                  <a:pt x="78" y="132"/>
                </a:lnTo>
                <a:lnTo>
                  <a:pt x="85" y="123"/>
                </a:lnTo>
                <a:lnTo>
                  <a:pt x="85" y="106"/>
                </a:lnTo>
                <a:lnTo>
                  <a:pt x="94" y="99"/>
                </a:lnTo>
                <a:lnTo>
                  <a:pt x="104" y="90"/>
                </a:lnTo>
                <a:lnTo>
                  <a:pt x="113" y="90"/>
                </a:lnTo>
                <a:lnTo>
                  <a:pt x="121" y="80"/>
                </a:lnTo>
                <a:lnTo>
                  <a:pt x="130" y="73"/>
                </a:lnTo>
                <a:lnTo>
                  <a:pt x="139" y="64"/>
                </a:lnTo>
                <a:lnTo>
                  <a:pt x="139" y="54"/>
                </a:lnTo>
                <a:lnTo>
                  <a:pt x="123" y="35"/>
                </a:lnTo>
                <a:lnTo>
                  <a:pt x="139" y="31"/>
                </a:lnTo>
                <a:lnTo>
                  <a:pt x="163" y="31"/>
                </a:lnTo>
                <a:lnTo>
                  <a:pt x="180" y="35"/>
                </a:lnTo>
                <a:lnTo>
                  <a:pt x="191" y="40"/>
                </a:lnTo>
                <a:lnTo>
                  <a:pt x="201" y="45"/>
                </a:lnTo>
                <a:lnTo>
                  <a:pt x="218" y="50"/>
                </a:lnTo>
                <a:lnTo>
                  <a:pt x="227" y="38"/>
                </a:lnTo>
                <a:lnTo>
                  <a:pt x="241" y="35"/>
                </a:lnTo>
                <a:lnTo>
                  <a:pt x="251" y="35"/>
                </a:lnTo>
                <a:lnTo>
                  <a:pt x="277" y="45"/>
                </a:lnTo>
                <a:lnTo>
                  <a:pt x="284" y="40"/>
                </a:lnTo>
                <a:lnTo>
                  <a:pt x="303" y="23"/>
                </a:lnTo>
                <a:lnTo>
                  <a:pt x="310" y="26"/>
                </a:lnTo>
                <a:lnTo>
                  <a:pt x="324" y="26"/>
                </a:lnTo>
                <a:lnTo>
                  <a:pt x="341" y="23"/>
                </a:lnTo>
                <a:lnTo>
                  <a:pt x="343" y="19"/>
                </a:lnTo>
                <a:lnTo>
                  <a:pt x="348" y="9"/>
                </a:lnTo>
                <a:lnTo>
                  <a:pt x="371" y="0"/>
                </a:lnTo>
                <a:lnTo>
                  <a:pt x="388" y="7"/>
                </a:lnTo>
                <a:lnTo>
                  <a:pt x="404" y="12"/>
                </a:lnTo>
                <a:lnTo>
                  <a:pt x="414" y="21"/>
                </a:lnTo>
                <a:lnTo>
                  <a:pt x="440" y="38"/>
                </a:lnTo>
                <a:lnTo>
                  <a:pt x="435" y="68"/>
                </a:lnTo>
                <a:lnTo>
                  <a:pt x="456" y="71"/>
                </a:lnTo>
                <a:lnTo>
                  <a:pt x="475" y="80"/>
                </a:lnTo>
                <a:lnTo>
                  <a:pt x="475" y="97"/>
                </a:lnTo>
                <a:lnTo>
                  <a:pt x="482" y="106"/>
                </a:lnTo>
                <a:lnTo>
                  <a:pt x="492" y="116"/>
                </a:lnTo>
                <a:lnTo>
                  <a:pt x="508" y="123"/>
                </a:lnTo>
                <a:lnTo>
                  <a:pt x="508" y="132"/>
                </a:lnTo>
                <a:lnTo>
                  <a:pt x="518" y="149"/>
                </a:lnTo>
                <a:lnTo>
                  <a:pt x="518" y="158"/>
                </a:lnTo>
                <a:lnTo>
                  <a:pt x="518" y="175"/>
                </a:lnTo>
                <a:lnTo>
                  <a:pt x="508" y="175"/>
                </a:lnTo>
                <a:lnTo>
                  <a:pt x="508" y="182"/>
                </a:lnTo>
                <a:lnTo>
                  <a:pt x="508" y="192"/>
                </a:lnTo>
                <a:lnTo>
                  <a:pt x="518" y="201"/>
                </a:lnTo>
                <a:lnTo>
                  <a:pt x="518" y="208"/>
                </a:lnTo>
                <a:lnTo>
                  <a:pt x="518" y="227"/>
                </a:lnTo>
                <a:lnTo>
                  <a:pt x="518" y="244"/>
                </a:lnTo>
                <a:lnTo>
                  <a:pt x="527" y="258"/>
                </a:lnTo>
                <a:lnTo>
                  <a:pt x="544" y="253"/>
                </a:lnTo>
                <a:lnTo>
                  <a:pt x="553" y="258"/>
                </a:lnTo>
                <a:lnTo>
                  <a:pt x="561" y="263"/>
                </a:lnTo>
                <a:lnTo>
                  <a:pt x="565" y="258"/>
                </a:lnTo>
                <a:lnTo>
                  <a:pt x="572" y="248"/>
                </a:lnTo>
                <a:lnTo>
                  <a:pt x="591" y="253"/>
                </a:lnTo>
                <a:lnTo>
                  <a:pt x="596" y="255"/>
                </a:lnTo>
                <a:lnTo>
                  <a:pt x="603" y="258"/>
                </a:lnTo>
                <a:lnTo>
                  <a:pt x="615" y="274"/>
                </a:lnTo>
                <a:lnTo>
                  <a:pt x="622" y="260"/>
                </a:lnTo>
                <a:lnTo>
                  <a:pt x="622" y="296"/>
                </a:lnTo>
                <a:lnTo>
                  <a:pt x="613" y="312"/>
                </a:lnTo>
                <a:lnTo>
                  <a:pt x="603" y="312"/>
                </a:lnTo>
                <a:lnTo>
                  <a:pt x="603" y="322"/>
                </a:lnTo>
                <a:lnTo>
                  <a:pt x="596" y="331"/>
                </a:lnTo>
                <a:lnTo>
                  <a:pt x="587" y="331"/>
                </a:lnTo>
                <a:lnTo>
                  <a:pt x="587" y="312"/>
                </a:lnTo>
                <a:lnTo>
                  <a:pt x="577" y="305"/>
                </a:lnTo>
                <a:lnTo>
                  <a:pt x="570" y="312"/>
                </a:lnTo>
                <a:lnTo>
                  <a:pt x="570" y="322"/>
                </a:lnTo>
                <a:lnTo>
                  <a:pt x="561" y="338"/>
                </a:lnTo>
                <a:lnTo>
                  <a:pt x="561" y="348"/>
                </a:lnTo>
                <a:lnTo>
                  <a:pt x="570" y="348"/>
                </a:lnTo>
                <a:lnTo>
                  <a:pt x="577" y="348"/>
                </a:lnTo>
                <a:lnTo>
                  <a:pt x="570" y="355"/>
                </a:lnTo>
                <a:lnTo>
                  <a:pt x="561" y="364"/>
                </a:lnTo>
                <a:lnTo>
                  <a:pt x="561" y="374"/>
                </a:lnTo>
                <a:lnTo>
                  <a:pt x="561" y="390"/>
                </a:lnTo>
                <a:lnTo>
                  <a:pt x="570" y="400"/>
                </a:lnTo>
                <a:lnTo>
                  <a:pt x="561" y="416"/>
                </a:lnTo>
                <a:lnTo>
                  <a:pt x="561" y="423"/>
                </a:lnTo>
                <a:lnTo>
                  <a:pt x="561" y="428"/>
                </a:lnTo>
                <a:lnTo>
                  <a:pt x="527" y="409"/>
                </a:lnTo>
                <a:lnTo>
                  <a:pt x="518" y="409"/>
                </a:lnTo>
                <a:lnTo>
                  <a:pt x="508" y="407"/>
                </a:lnTo>
                <a:lnTo>
                  <a:pt x="501" y="407"/>
                </a:lnTo>
                <a:lnTo>
                  <a:pt x="482" y="409"/>
                </a:lnTo>
                <a:lnTo>
                  <a:pt x="473" y="405"/>
                </a:lnTo>
                <a:lnTo>
                  <a:pt x="459" y="405"/>
                </a:lnTo>
                <a:lnTo>
                  <a:pt x="449" y="405"/>
                </a:lnTo>
                <a:lnTo>
                  <a:pt x="440" y="395"/>
                </a:lnTo>
                <a:lnTo>
                  <a:pt x="404" y="405"/>
                </a:lnTo>
                <a:lnTo>
                  <a:pt x="397" y="407"/>
                </a:lnTo>
                <a:lnTo>
                  <a:pt x="383" y="428"/>
                </a:lnTo>
                <a:lnTo>
                  <a:pt x="362" y="447"/>
                </a:lnTo>
                <a:lnTo>
                  <a:pt x="343" y="452"/>
                </a:lnTo>
                <a:lnTo>
                  <a:pt x="338" y="461"/>
                </a:lnTo>
                <a:lnTo>
                  <a:pt x="319" y="466"/>
                </a:lnTo>
                <a:lnTo>
                  <a:pt x="303" y="457"/>
                </a:lnTo>
                <a:lnTo>
                  <a:pt x="293" y="457"/>
                </a:lnTo>
                <a:lnTo>
                  <a:pt x="277" y="457"/>
                </a:lnTo>
                <a:lnTo>
                  <a:pt x="267" y="457"/>
                </a:lnTo>
                <a:lnTo>
                  <a:pt x="251" y="457"/>
                </a:lnTo>
                <a:lnTo>
                  <a:pt x="232" y="457"/>
                </a:lnTo>
                <a:lnTo>
                  <a:pt x="220" y="450"/>
                </a:lnTo>
                <a:lnTo>
                  <a:pt x="208" y="450"/>
                </a:lnTo>
                <a:lnTo>
                  <a:pt x="189" y="450"/>
                </a:lnTo>
                <a:lnTo>
                  <a:pt x="175" y="450"/>
                </a:lnTo>
                <a:lnTo>
                  <a:pt x="163" y="445"/>
                </a:lnTo>
                <a:lnTo>
                  <a:pt x="161" y="431"/>
                </a:lnTo>
                <a:lnTo>
                  <a:pt x="158" y="419"/>
                </a:lnTo>
                <a:lnTo>
                  <a:pt x="156" y="416"/>
                </a:lnTo>
                <a:lnTo>
                  <a:pt x="156" y="41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7" name="Freeform 544">
            <a:extLst>
              <a:ext uri="{FF2B5EF4-FFF2-40B4-BE49-F238E27FC236}">
                <a16:creationId xmlns:a16="http://schemas.microsoft.com/office/drawing/2014/main" id="{F5463559-E2B1-438C-A244-005DEEC3957D}"/>
              </a:ext>
            </a:extLst>
          </p:cNvPr>
          <p:cNvSpPr>
            <a:spLocks/>
          </p:cNvSpPr>
          <p:nvPr/>
        </p:nvSpPr>
        <p:spPr bwMode="auto">
          <a:xfrm>
            <a:off x="2684902" y="3433240"/>
            <a:ext cx="185246" cy="154076"/>
          </a:xfrm>
          <a:custGeom>
            <a:avLst/>
            <a:gdLst>
              <a:gd name="T0" fmla="*/ 130 w 208"/>
              <a:gd name="T1" fmla="*/ 9 h 173"/>
              <a:gd name="T2" fmla="*/ 139 w 208"/>
              <a:gd name="T3" fmla="*/ 19 h 173"/>
              <a:gd name="T4" fmla="*/ 139 w 208"/>
              <a:gd name="T5" fmla="*/ 26 h 173"/>
              <a:gd name="T6" fmla="*/ 139 w 208"/>
              <a:gd name="T7" fmla="*/ 35 h 173"/>
              <a:gd name="T8" fmla="*/ 156 w 208"/>
              <a:gd name="T9" fmla="*/ 35 h 173"/>
              <a:gd name="T10" fmla="*/ 173 w 208"/>
              <a:gd name="T11" fmla="*/ 52 h 173"/>
              <a:gd name="T12" fmla="*/ 182 w 208"/>
              <a:gd name="T13" fmla="*/ 52 h 173"/>
              <a:gd name="T14" fmla="*/ 199 w 208"/>
              <a:gd name="T15" fmla="*/ 61 h 173"/>
              <a:gd name="T16" fmla="*/ 208 w 208"/>
              <a:gd name="T17" fmla="*/ 61 h 173"/>
              <a:gd name="T18" fmla="*/ 208 w 208"/>
              <a:gd name="T19" fmla="*/ 78 h 173"/>
              <a:gd name="T20" fmla="*/ 199 w 208"/>
              <a:gd name="T21" fmla="*/ 87 h 173"/>
              <a:gd name="T22" fmla="*/ 189 w 208"/>
              <a:gd name="T23" fmla="*/ 87 h 173"/>
              <a:gd name="T24" fmla="*/ 173 w 208"/>
              <a:gd name="T25" fmla="*/ 87 h 173"/>
              <a:gd name="T26" fmla="*/ 156 w 208"/>
              <a:gd name="T27" fmla="*/ 87 h 173"/>
              <a:gd name="T28" fmla="*/ 147 w 208"/>
              <a:gd name="T29" fmla="*/ 87 h 173"/>
              <a:gd name="T30" fmla="*/ 130 w 208"/>
              <a:gd name="T31" fmla="*/ 94 h 173"/>
              <a:gd name="T32" fmla="*/ 121 w 208"/>
              <a:gd name="T33" fmla="*/ 104 h 173"/>
              <a:gd name="T34" fmla="*/ 113 w 208"/>
              <a:gd name="T35" fmla="*/ 113 h 173"/>
              <a:gd name="T36" fmla="*/ 94 w 208"/>
              <a:gd name="T37" fmla="*/ 123 h 173"/>
              <a:gd name="T38" fmla="*/ 87 w 208"/>
              <a:gd name="T39" fmla="*/ 130 h 173"/>
              <a:gd name="T40" fmla="*/ 87 w 208"/>
              <a:gd name="T41" fmla="*/ 139 h 173"/>
              <a:gd name="T42" fmla="*/ 68 w 208"/>
              <a:gd name="T43" fmla="*/ 147 h 173"/>
              <a:gd name="T44" fmla="*/ 61 w 208"/>
              <a:gd name="T45" fmla="*/ 156 h 173"/>
              <a:gd name="T46" fmla="*/ 35 w 208"/>
              <a:gd name="T47" fmla="*/ 165 h 173"/>
              <a:gd name="T48" fmla="*/ 26 w 208"/>
              <a:gd name="T49" fmla="*/ 173 h 173"/>
              <a:gd name="T50" fmla="*/ 16 w 208"/>
              <a:gd name="T51" fmla="*/ 165 h 173"/>
              <a:gd name="T52" fmla="*/ 35 w 208"/>
              <a:gd name="T53" fmla="*/ 147 h 173"/>
              <a:gd name="T54" fmla="*/ 42 w 208"/>
              <a:gd name="T55" fmla="*/ 147 h 173"/>
              <a:gd name="T56" fmla="*/ 42 w 208"/>
              <a:gd name="T57" fmla="*/ 139 h 173"/>
              <a:gd name="T58" fmla="*/ 42 w 208"/>
              <a:gd name="T59" fmla="*/ 130 h 173"/>
              <a:gd name="T60" fmla="*/ 35 w 208"/>
              <a:gd name="T61" fmla="*/ 139 h 173"/>
              <a:gd name="T62" fmla="*/ 26 w 208"/>
              <a:gd name="T63" fmla="*/ 139 h 173"/>
              <a:gd name="T64" fmla="*/ 9 w 208"/>
              <a:gd name="T65" fmla="*/ 139 h 173"/>
              <a:gd name="T66" fmla="*/ 0 w 208"/>
              <a:gd name="T67" fmla="*/ 130 h 173"/>
              <a:gd name="T68" fmla="*/ 9 w 208"/>
              <a:gd name="T69" fmla="*/ 123 h 173"/>
              <a:gd name="T70" fmla="*/ 9 w 208"/>
              <a:gd name="T71" fmla="*/ 113 h 173"/>
              <a:gd name="T72" fmla="*/ 16 w 208"/>
              <a:gd name="T73" fmla="*/ 104 h 173"/>
              <a:gd name="T74" fmla="*/ 16 w 208"/>
              <a:gd name="T75" fmla="*/ 87 h 173"/>
              <a:gd name="T76" fmla="*/ 16 w 208"/>
              <a:gd name="T77" fmla="*/ 78 h 173"/>
              <a:gd name="T78" fmla="*/ 26 w 208"/>
              <a:gd name="T79" fmla="*/ 78 h 173"/>
              <a:gd name="T80" fmla="*/ 26 w 208"/>
              <a:gd name="T81" fmla="*/ 71 h 173"/>
              <a:gd name="T82" fmla="*/ 35 w 208"/>
              <a:gd name="T83" fmla="*/ 61 h 173"/>
              <a:gd name="T84" fmla="*/ 35 w 208"/>
              <a:gd name="T85" fmla="*/ 52 h 173"/>
              <a:gd name="T86" fmla="*/ 35 w 208"/>
              <a:gd name="T87" fmla="*/ 45 h 173"/>
              <a:gd name="T88" fmla="*/ 26 w 208"/>
              <a:gd name="T89" fmla="*/ 45 h 173"/>
              <a:gd name="T90" fmla="*/ 16 w 208"/>
              <a:gd name="T91" fmla="*/ 35 h 173"/>
              <a:gd name="T92" fmla="*/ 16 w 208"/>
              <a:gd name="T93" fmla="*/ 26 h 173"/>
              <a:gd name="T94" fmla="*/ 26 w 208"/>
              <a:gd name="T95" fmla="*/ 19 h 173"/>
              <a:gd name="T96" fmla="*/ 26 w 208"/>
              <a:gd name="T97" fmla="*/ 9 h 173"/>
              <a:gd name="T98" fmla="*/ 35 w 208"/>
              <a:gd name="T99" fmla="*/ 9 h 173"/>
              <a:gd name="T100" fmla="*/ 42 w 208"/>
              <a:gd name="T101" fmla="*/ 9 h 173"/>
              <a:gd name="T102" fmla="*/ 52 w 208"/>
              <a:gd name="T103" fmla="*/ 0 h 173"/>
              <a:gd name="T104" fmla="*/ 61 w 208"/>
              <a:gd name="T105" fmla="*/ 0 h 173"/>
              <a:gd name="T106" fmla="*/ 68 w 208"/>
              <a:gd name="T107" fmla="*/ 0 h 173"/>
              <a:gd name="T108" fmla="*/ 78 w 208"/>
              <a:gd name="T109" fmla="*/ 0 h 173"/>
              <a:gd name="T110" fmla="*/ 78 w 208"/>
              <a:gd name="T111" fmla="*/ 9 h 173"/>
              <a:gd name="T112" fmla="*/ 87 w 208"/>
              <a:gd name="T113" fmla="*/ 9 h 173"/>
              <a:gd name="T114" fmla="*/ 104 w 208"/>
              <a:gd name="T115" fmla="*/ 9 h 173"/>
              <a:gd name="T116" fmla="*/ 130 w 208"/>
              <a:gd name="T117" fmla="*/ 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08" h="173">
                <a:moveTo>
                  <a:pt x="130" y="9"/>
                </a:moveTo>
                <a:lnTo>
                  <a:pt x="139" y="19"/>
                </a:lnTo>
                <a:lnTo>
                  <a:pt x="139" y="26"/>
                </a:lnTo>
                <a:lnTo>
                  <a:pt x="139" y="35"/>
                </a:lnTo>
                <a:lnTo>
                  <a:pt x="156" y="35"/>
                </a:lnTo>
                <a:lnTo>
                  <a:pt x="173" y="52"/>
                </a:lnTo>
                <a:lnTo>
                  <a:pt x="182" y="52"/>
                </a:lnTo>
                <a:lnTo>
                  <a:pt x="199" y="61"/>
                </a:lnTo>
                <a:lnTo>
                  <a:pt x="208" y="61"/>
                </a:lnTo>
                <a:lnTo>
                  <a:pt x="208" y="78"/>
                </a:lnTo>
                <a:lnTo>
                  <a:pt x="199" y="87"/>
                </a:lnTo>
                <a:lnTo>
                  <a:pt x="189" y="87"/>
                </a:lnTo>
                <a:lnTo>
                  <a:pt x="173" y="87"/>
                </a:lnTo>
                <a:lnTo>
                  <a:pt x="156" y="87"/>
                </a:lnTo>
                <a:lnTo>
                  <a:pt x="147" y="87"/>
                </a:lnTo>
                <a:lnTo>
                  <a:pt x="130" y="94"/>
                </a:lnTo>
                <a:lnTo>
                  <a:pt x="121" y="104"/>
                </a:lnTo>
                <a:lnTo>
                  <a:pt x="113" y="113"/>
                </a:lnTo>
                <a:lnTo>
                  <a:pt x="94" y="123"/>
                </a:lnTo>
                <a:lnTo>
                  <a:pt x="87" y="130"/>
                </a:lnTo>
                <a:lnTo>
                  <a:pt x="87" y="139"/>
                </a:lnTo>
                <a:lnTo>
                  <a:pt x="68" y="147"/>
                </a:lnTo>
                <a:lnTo>
                  <a:pt x="61" y="156"/>
                </a:lnTo>
                <a:lnTo>
                  <a:pt x="35" y="165"/>
                </a:lnTo>
                <a:lnTo>
                  <a:pt x="26" y="173"/>
                </a:lnTo>
                <a:lnTo>
                  <a:pt x="16" y="165"/>
                </a:lnTo>
                <a:lnTo>
                  <a:pt x="35" y="147"/>
                </a:lnTo>
                <a:lnTo>
                  <a:pt x="42" y="147"/>
                </a:lnTo>
                <a:lnTo>
                  <a:pt x="42" y="139"/>
                </a:lnTo>
                <a:lnTo>
                  <a:pt x="42" y="130"/>
                </a:lnTo>
                <a:lnTo>
                  <a:pt x="35" y="139"/>
                </a:lnTo>
                <a:lnTo>
                  <a:pt x="26" y="139"/>
                </a:lnTo>
                <a:lnTo>
                  <a:pt x="9" y="139"/>
                </a:lnTo>
                <a:lnTo>
                  <a:pt x="0" y="130"/>
                </a:lnTo>
                <a:lnTo>
                  <a:pt x="9" y="123"/>
                </a:lnTo>
                <a:lnTo>
                  <a:pt x="9" y="113"/>
                </a:lnTo>
                <a:lnTo>
                  <a:pt x="16" y="104"/>
                </a:lnTo>
                <a:lnTo>
                  <a:pt x="16" y="87"/>
                </a:lnTo>
                <a:lnTo>
                  <a:pt x="16" y="78"/>
                </a:lnTo>
                <a:lnTo>
                  <a:pt x="26" y="78"/>
                </a:lnTo>
                <a:lnTo>
                  <a:pt x="26" y="71"/>
                </a:lnTo>
                <a:lnTo>
                  <a:pt x="35" y="61"/>
                </a:lnTo>
                <a:lnTo>
                  <a:pt x="35" y="52"/>
                </a:lnTo>
                <a:lnTo>
                  <a:pt x="35" y="45"/>
                </a:lnTo>
                <a:lnTo>
                  <a:pt x="26" y="45"/>
                </a:lnTo>
                <a:lnTo>
                  <a:pt x="16" y="35"/>
                </a:lnTo>
                <a:lnTo>
                  <a:pt x="16" y="26"/>
                </a:lnTo>
                <a:lnTo>
                  <a:pt x="26" y="19"/>
                </a:lnTo>
                <a:lnTo>
                  <a:pt x="26" y="9"/>
                </a:lnTo>
                <a:lnTo>
                  <a:pt x="35" y="9"/>
                </a:lnTo>
                <a:lnTo>
                  <a:pt x="42" y="9"/>
                </a:lnTo>
                <a:lnTo>
                  <a:pt x="52" y="0"/>
                </a:lnTo>
                <a:lnTo>
                  <a:pt x="61" y="0"/>
                </a:lnTo>
                <a:lnTo>
                  <a:pt x="68" y="0"/>
                </a:lnTo>
                <a:lnTo>
                  <a:pt x="78" y="0"/>
                </a:lnTo>
                <a:lnTo>
                  <a:pt x="78" y="9"/>
                </a:lnTo>
                <a:lnTo>
                  <a:pt x="87" y="9"/>
                </a:lnTo>
                <a:lnTo>
                  <a:pt x="104" y="9"/>
                </a:lnTo>
                <a:lnTo>
                  <a:pt x="130" y="9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8" name="Freeform 545">
            <a:extLst>
              <a:ext uri="{FF2B5EF4-FFF2-40B4-BE49-F238E27FC236}">
                <a16:creationId xmlns:a16="http://schemas.microsoft.com/office/drawing/2014/main" id="{8921A2BD-8495-46FD-BC34-D8292FCC0740}"/>
              </a:ext>
            </a:extLst>
          </p:cNvPr>
          <p:cNvSpPr>
            <a:spLocks/>
          </p:cNvSpPr>
          <p:nvPr/>
        </p:nvSpPr>
        <p:spPr bwMode="auto">
          <a:xfrm>
            <a:off x="2294818" y="3458181"/>
            <a:ext cx="421256" cy="451537"/>
          </a:xfrm>
          <a:custGeom>
            <a:avLst/>
            <a:gdLst>
              <a:gd name="T0" fmla="*/ 268 w 473"/>
              <a:gd name="T1" fmla="*/ 50 h 507"/>
              <a:gd name="T2" fmla="*/ 308 w 473"/>
              <a:gd name="T3" fmla="*/ 31 h 507"/>
              <a:gd name="T4" fmla="*/ 343 w 473"/>
              <a:gd name="T5" fmla="*/ 40 h 507"/>
              <a:gd name="T6" fmla="*/ 395 w 473"/>
              <a:gd name="T7" fmla="*/ 40 h 507"/>
              <a:gd name="T8" fmla="*/ 433 w 473"/>
              <a:gd name="T9" fmla="*/ 14 h 507"/>
              <a:gd name="T10" fmla="*/ 473 w 473"/>
              <a:gd name="T11" fmla="*/ 14 h 507"/>
              <a:gd name="T12" fmla="*/ 457 w 473"/>
              <a:gd name="T13" fmla="*/ 52 h 507"/>
              <a:gd name="T14" fmla="*/ 440 w 473"/>
              <a:gd name="T15" fmla="*/ 102 h 507"/>
              <a:gd name="T16" fmla="*/ 362 w 473"/>
              <a:gd name="T17" fmla="*/ 83 h 507"/>
              <a:gd name="T18" fmla="*/ 327 w 473"/>
              <a:gd name="T19" fmla="*/ 93 h 507"/>
              <a:gd name="T20" fmla="*/ 301 w 473"/>
              <a:gd name="T21" fmla="*/ 109 h 507"/>
              <a:gd name="T22" fmla="*/ 284 w 473"/>
              <a:gd name="T23" fmla="*/ 135 h 507"/>
              <a:gd name="T24" fmla="*/ 301 w 473"/>
              <a:gd name="T25" fmla="*/ 168 h 507"/>
              <a:gd name="T26" fmla="*/ 275 w 473"/>
              <a:gd name="T27" fmla="*/ 161 h 507"/>
              <a:gd name="T28" fmla="*/ 258 w 473"/>
              <a:gd name="T29" fmla="*/ 168 h 507"/>
              <a:gd name="T30" fmla="*/ 249 w 473"/>
              <a:gd name="T31" fmla="*/ 178 h 507"/>
              <a:gd name="T32" fmla="*/ 223 w 473"/>
              <a:gd name="T33" fmla="*/ 161 h 507"/>
              <a:gd name="T34" fmla="*/ 180 w 473"/>
              <a:gd name="T35" fmla="*/ 128 h 507"/>
              <a:gd name="T36" fmla="*/ 180 w 473"/>
              <a:gd name="T37" fmla="*/ 178 h 507"/>
              <a:gd name="T38" fmla="*/ 249 w 473"/>
              <a:gd name="T39" fmla="*/ 239 h 507"/>
              <a:gd name="T40" fmla="*/ 223 w 473"/>
              <a:gd name="T41" fmla="*/ 230 h 507"/>
              <a:gd name="T42" fmla="*/ 206 w 473"/>
              <a:gd name="T43" fmla="*/ 256 h 507"/>
              <a:gd name="T44" fmla="*/ 215 w 473"/>
              <a:gd name="T45" fmla="*/ 291 h 507"/>
              <a:gd name="T46" fmla="*/ 284 w 473"/>
              <a:gd name="T47" fmla="*/ 334 h 507"/>
              <a:gd name="T48" fmla="*/ 294 w 473"/>
              <a:gd name="T49" fmla="*/ 386 h 507"/>
              <a:gd name="T50" fmla="*/ 232 w 473"/>
              <a:gd name="T51" fmla="*/ 386 h 507"/>
              <a:gd name="T52" fmla="*/ 268 w 473"/>
              <a:gd name="T53" fmla="*/ 410 h 507"/>
              <a:gd name="T54" fmla="*/ 215 w 473"/>
              <a:gd name="T55" fmla="*/ 410 h 507"/>
              <a:gd name="T56" fmla="*/ 215 w 473"/>
              <a:gd name="T57" fmla="*/ 445 h 507"/>
              <a:gd name="T58" fmla="*/ 249 w 473"/>
              <a:gd name="T59" fmla="*/ 488 h 507"/>
              <a:gd name="T60" fmla="*/ 197 w 473"/>
              <a:gd name="T61" fmla="*/ 481 h 507"/>
              <a:gd name="T62" fmla="*/ 189 w 473"/>
              <a:gd name="T63" fmla="*/ 507 h 507"/>
              <a:gd name="T64" fmla="*/ 154 w 473"/>
              <a:gd name="T65" fmla="*/ 471 h 507"/>
              <a:gd name="T66" fmla="*/ 137 w 473"/>
              <a:gd name="T67" fmla="*/ 462 h 507"/>
              <a:gd name="T68" fmla="*/ 111 w 473"/>
              <a:gd name="T69" fmla="*/ 462 h 507"/>
              <a:gd name="T70" fmla="*/ 111 w 473"/>
              <a:gd name="T71" fmla="*/ 410 h 507"/>
              <a:gd name="T72" fmla="*/ 76 w 473"/>
              <a:gd name="T73" fmla="*/ 367 h 507"/>
              <a:gd name="T74" fmla="*/ 111 w 473"/>
              <a:gd name="T75" fmla="*/ 351 h 507"/>
              <a:gd name="T76" fmla="*/ 154 w 473"/>
              <a:gd name="T77" fmla="*/ 341 h 507"/>
              <a:gd name="T78" fmla="*/ 189 w 473"/>
              <a:gd name="T79" fmla="*/ 360 h 507"/>
              <a:gd name="T80" fmla="*/ 206 w 473"/>
              <a:gd name="T81" fmla="*/ 341 h 507"/>
              <a:gd name="T82" fmla="*/ 163 w 473"/>
              <a:gd name="T83" fmla="*/ 324 h 507"/>
              <a:gd name="T84" fmla="*/ 102 w 473"/>
              <a:gd name="T85" fmla="*/ 324 h 507"/>
              <a:gd name="T86" fmla="*/ 59 w 473"/>
              <a:gd name="T87" fmla="*/ 317 h 507"/>
              <a:gd name="T88" fmla="*/ 50 w 473"/>
              <a:gd name="T89" fmla="*/ 282 h 507"/>
              <a:gd name="T90" fmla="*/ 69 w 473"/>
              <a:gd name="T91" fmla="*/ 265 h 507"/>
              <a:gd name="T92" fmla="*/ 33 w 473"/>
              <a:gd name="T93" fmla="*/ 246 h 507"/>
              <a:gd name="T94" fmla="*/ 7 w 473"/>
              <a:gd name="T95" fmla="*/ 213 h 507"/>
              <a:gd name="T96" fmla="*/ 43 w 473"/>
              <a:gd name="T97" fmla="*/ 178 h 507"/>
              <a:gd name="T98" fmla="*/ 69 w 473"/>
              <a:gd name="T99" fmla="*/ 135 h 507"/>
              <a:gd name="T100" fmla="*/ 59 w 473"/>
              <a:gd name="T101" fmla="*/ 93 h 507"/>
              <a:gd name="T102" fmla="*/ 102 w 473"/>
              <a:gd name="T103" fmla="*/ 93 h 507"/>
              <a:gd name="T104" fmla="*/ 163 w 473"/>
              <a:gd name="T105" fmla="*/ 76 h 507"/>
              <a:gd name="T106" fmla="*/ 215 w 473"/>
              <a:gd name="T107" fmla="*/ 50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73" h="507">
                <a:moveTo>
                  <a:pt x="197" y="50"/>
                </a:moveTo>
                <a:lnTo>
                  <a:pt x="215" y="50"/>
                </a:lnTo>
                <a:lnTo>
                  <a:pt x="232" y="50"/>
                </a:lnTo>
                <a:lnTo>
                  <a:pt x="249" y="50"/>
                </a:lnTo>
                <a:lnTo>
                  <a:pt x="268" y="50"/>
                </a:lnTo>
                <a:lnTo>
                  <a:pt x="275" y="59"/>
                </a:lnTo>
                <a:lnTo>
                  <a:pt x="286" y="50"/>
                </a:lnTo>
                <a:lnTo>
                  <a:pt x="284" y="40"/>
                </a:lnTo>
                <a:lnTo>
                  <a:pt x="291" y="36"/>
                </a:lnTo>
                <a:lnTo>
                  <a:pt x="308" y="31"/>
                </a:lnTo>
                <a:lnTo>
                  <a:pt x="317" y="36"/>
                </a:lnTo>
                <a:lnTo>
                  <a:pt x="324" y="31"/>
                </a:lnTo>
                <a:lnTo>
                  <a:pt x="327" y="31"/>
                </a:lnTo>
                <a:lnTo>
                  <a:pt x="336" y="40"/>
                </a:lnTo>
                <a:lnTo>
                  <a:pt x="343" y="40"/>
                </a:lnTo>
                <a:lnTo>
                  <a:pt x="343" y="50"/>
                </a:lnTo>
                <a:lnTo>
                  <a:pt x="362" y="40"/>
                </a:lnTo>
                <a:lnTo>
                  <a:pt x="369" y="40"/>
                </a:lnTo>
                <a:lnTo>
                  <a:pt x="379" y="40"/>
                </a:lnTo>
                <a:lnTo>
                  <a:pt x="395" y="40"/>
                </a:lnTo>
                <a:lnTo>
                  <a:pt x="405" y="33"/>
                </a:lnTo>
                <a:lnTo>
                  <a:pt x="421" y="33"/>
                </a:lnTo>
                <a:lnTo>
                  <a:pt x="440" y="33"/>
                </a:lnTo>
                <a:lnTo>
                  <a:pt x="438" y="24"/>
                </a:lnTo>
                <a:lnTo>
                  <a:pt x="433" y="14"/>
                </a:lnTo>
                <a:lnTo>
                  <a:pt x="433" y="5"/>
                </a:lnTo>
                <a:lnTo>
                  <a:pt x="447" y="0"/>
                </a:lnTo>
                <a:lnTo>
                  <a:pt x="459" y="5"/>
                </a:lnTo>
                <a:lnTo>
                  <a:pt x="466" y="14"/>
                </a:lnTo>
                <a:lnTo>
                  <a:pt x="473" y="14"/>
                </a:lnTo>
                <a:lnTo>
                  <a:pt x="473" y="24"/>
                </a:lnTo>
                <a:lnTo>
                  <a:pt x="473" y="33"/>
                </a:lnTo>
                <a:lnTo>
                  <a:pt x="466" y="40"/>
                </a:lnTo>
                <a:lnTo>
                  <a:pt x="471" y="50"/>
                </a:lnTo>
                <a:lnTo>
                  <a:pt x="457" y="52"/>
                </a:lnTo>
                <a:lnTo>
                  <a:pt x="459" y="59"/>
                </a:lnTo>
                <a:lnTo>
                  <a:pt x="457" y="76"/>
                </a:lnTo>
                <a:lnTo>
                  <a:pt x="447" y="83"/>
                </a:lnTo>
                <a:lnTo>
                  <a:pt x="447" y="93"/>
                </a:lnTo>
                <a:lnTo>
                  <a:pt x="440" y="102"/>
                </a:lnTo>
                <a:lnTo>
                  <a:pt x="431" y="102"/>
                </a:lnTo>
                <a:lnTo>
                  <a:pt x="421" y="93"/>
                </a:lnTo>
                <a:lnTo>
                  <a:pt x="395" y="93"/>
                </a:lnTo>
                <a:lnTo>
                  <a:pt x="379" y="83"/>
                </a:lnTo>
                <a:lnTo>
                  <a:pt x="362" y="83"/>
                </a:lnTo>
                <a:lnTo>
                  <a:pt x="353" y="83"/>
                </a:lnTo>
                <a:lnTo>
                  <a:pt x="362" y="93"/>
                </a:lnTo>
                <a:lnTo>
                  <a:pt x="353" y="102"/>
                </a:lnTo>
                <a:lnTo>
                  <a:pt x="336" y="102"/>
                </a:lnTo>
                <a:lnTo>
                  <a:pt x="327" y="93"/>
                </a:lnTo>
                <a:lnTo>
                  <a:pt x="317" y="83"/>
                </a:lnTo>
                <a:lnTo>
                  <a:pt x="310" y="93"/>
                </a:lnTo>
                <a:lnTo>
                  <a:pt x="310" y="102"/>
                </a:lnTo>
                <a:lnTo>
                  <a:pt x="310" y="109"/>
                </a:lnTo>
                <a:lnTo>
                  <a:pt x="301" y="109"/>
                </a:lnTo>
                <a:lnTo>
                  <a:pt x="275" y="109"/>
                </a:lnTo>
                <a:lnTo>
                  <a:pt x="268" y="109"/>
                </a:lnTo>
                <a:lnTo>
                  <a:pt x="268" y="119"/>
                </a:lnTo>
                <a:lnTo>
                  <a:pt x="275" y="128"/>
                </a:lnTo>
                <a:lnTo>
                  <a:pt x="284" y="135"/>
                </a:lnTo>
                <a:lnTo>
                  <a:pt x="301" y="145"/>
                </a:lnTo>
                <a:lnTo>
                  <a:pt x="317" y="152"/>
                </a:lnTo>
                <a:lnTo>
                  <a:pt x="327" y="152"/>
                </a:lnTo>
                <a:lnTo>
                  <a:pt x="317" y="161"/>
                </a:lnTo>
                <a:lnTo>
                  <a:pt x="301" y="168"/>
                </a:lnTo>
                <a:lnTo>
                  <a:pt x="284" y="168"/>
                </a:lnTo>
                <a:lnTo>
                  <a:pt x="284" y="152"/>
                </a:lnTo>
                <a:lnTo>
                  <a:pt x="275" y="152"/>
                </a:lnTo>
                <a:lnTo>
                  <a:pt x="268" y="152"/>
                </a:lnTo>
                <a:lnTo>
                  <a:pt x="275" y="161"/>
                </a:lnTo>
                <a:lnTo>
                  <a:pt x="284" y="178"/>
                </a:lnTo>
                <a:lnTo>
                  <a:pt x="294" y="178"/>
                </a:lnTo>
                <a:lnTo>
                  <a:pt x="294" y="187"/>
                </a:lnTo>
                <a:lnTo>
                  <a:pt x="268" y="178"/>
                </a:lnTo>
                <a:lnTo>
                  <a:pt x="258" y="168"/>
                </a:lnTo>
                <a:lnTo>
                  <a:pt x="249" y="161"/>
                </a:lnTo>
                <a:lnTo>
                  <a:pt x="242" y="152"/>
                </a:lnTo>
                <a:lnTo>
                  <a:pt x="242" y="161"/>
                </a:lnTo>
                <a:lnTo>
                  <a:pt x="242" y="168"/>
                </a:lnTo>
                <a:lnTo>
                  <a:pt x="249" y="178"/>
                </a:lnTo>
                <a:lnTo>
                  <a:pt x="268" y="187"/>
                </a:lnTo>
                <a:lnTo>
                  <a:pt x="268" y="197"/>
                </a:lnTo>
                <a:lnTo>
                  <a:pt x="249" y="187"/>
                </a:lnTo>
                <a:lnTo>
                  <a:pt x="232" y="178"/>
                </a:lnTo>
                <a:lnTo>
                  <a:pt x="223" y="161"/>
                </a:lnTo>
                <a:lnTo>
                  <a:pt x="215" y="145"/>
                </a:lnTo>
                <a:lnTo>
                  <a:pt x="206" y="135"/>
                </a:lnTo>
                <a:lnTo>
                  <a:pt x="206" y="119"/>
                </a:lnTo>
                <a:lnTo>
                  <a:pt x="197" y="119"/>
                </a:lnTo>
                <a:lnTo>
                  <a:pt x="180" y="128"/>
                </a:lnTo>
                <a:lnTo>
                  <a:pt x="173" y="135"/>
                </a:lnTo>
                <a:lnTo>
                  <a:pt x="180" y="145"/>
                </a:lnTo>
                <a:lnTo>
                  <a:pt x="180" y="152"/>
                </a:lnTo>
                <a:lnTo>
                  <a:pt x="180" y="161"/>
                </a:lnTo>
                <a:lnTo>
                  <a:pt x="180" y="178"/>
                </a:lnTo>
                <a:lnTo>
                  <a:pt x="189" y="187"/>
                </a:lnTo>
                <a:lnTo>
                  <a:pt x="206" y="197"/>
                </a:lnTo>
                <a:lnTo>
                  <a:pt x="215" y="213"/>
                </a:lnTo>
                <a:lnTo>
                  <a:pt x="242" y="239"/>
                </a:lnTo>
                <a:lnTo>
                  <a:pt x="249" y="239"/>
                </a:lnTo>
                <a:lnTo>
                  <a:pt x="242" y="256"/>
                </a:lnTo>
                <a:lnTo>
                  <a:pt x="232" y="256"/>
                </a:lnTo>
                <a:lnTo>
                  <a:pt x="232" y="246"/>
                </a:lnTo>
                <a:lnTo>
                  <a:pt x="232" y="239"/>
                </a:lnTo>
                <a:lnTo>
                  <a:pt x="223" y="230"/>
                </a:lnTo>
                <a:lnTo>
                  <a:pt x="206" y="230"/>
                </a:lnTo>
                <a:lnTo>
                  <a:pt x="197" y="230"/>
                </a:lnTo>
                <a:lnTo>
                  <a:pt x="189" y="239"/>
                </a:lnTo>
                <a:lnTo>
                  <a:pt x="197" y="256"/>
                </a:lnTo>
                <a:lnTo>
                  <a:pt x="206" y="256"/>
                </a:lnTo>
                <a:lnTo>
                  <a:pt x="206" y="265"/>
                </a:lnTo>
                <a:lnTo>
                  <a:pt x="197" y="272"/>
                </a:lnTo>
                <a:lnTo>
                  <a:pt x="189" y="282"/>
                </a:lnTo>
                <a:lnTo>
                  <a:pt x="197" y="291"/>
                </a:lnTo>
                <a:lnTo>
                  <a:pt x="215" y="291"/>
                </a:lnTo>
                <a:lnTo>
                  <a:pt x="232" y="298"/>
                </a:lnTo>
                <a:lnTo>
                  <a:pt x="249" y="308"/>
                </a:lnTo>
                <a:lnTo>
                  <a:pt x="258" y="308"/>
                </a:lnTo>
                <a:lnTo>
                  <a:pt x="268" y="324"/>
                </a:lnTo>
                <a:lnTo>
                  <a:pt x="284" y="334"/>
                </a:lnTo>
                <a:lnTo>
                  <a:pt x="294" y="334"/>
                </a:lnTo>
                <a:lnTo>
                  <a:pt x="294" y="351"/>
                </a:lnTo>
                <a:lnTo>
                  <a:pt x="294" y="367"/>
                </a:lnTo>
                <a:lnTo>
                  <a:pt x="294" y="377"/>
                </a:lnTo>
                <a:lnTo>
                  <a:pt x="294" y="386"/>
                </a:lnTo>
                <a:lnTo>
                  <a:pt x="275" y="377"/>
                </a:lnTo>
                <a:lnTo>
                  <a:pt x="268" y="360"/>
                </a:lnTo>
                <a:lnTo>
                  <a:pt x="258" y="360"/>
                </a:lnTo>
                <a:lnTo>
                  <a:pt x="242" y="377"/>
                </a:lnTo>
                <a:lnTo>
                  <a:pt x="232" y="386"/>
                </a:lnTo>
                <a:lnTo>
                  <a:pt x="232" y="393"/>
                </a:lnTo>
                <a:lnTo>
                  <a:pt x="242" y="403"/>
                </a:lnTo>
                <a:lnTo>
                  <a:pt x="249" y="403"/>
                </a:lnTo>
                <a:lnTo>
                  <a:pt x="268" y="393"/>
                </a:lnTo>
                <a:lnTo>
                  <a:pt x="268" y="410"/>
                </a:lnTo>
                <a:lnTo>
                  <a:pt x="249" y="419"/>
                </a:lnTo>
                <a:lnTo>
                  <a:pt x="232" y="429"/>
                </a:lnTo>
                <a:lnTo>
                  <a:pt x="223" y="429"/>
                </a:lnTo>
                <a:lnTo>
                  <a:pt x="215" y="419"/>
                </a:lnTo>
                <a:lnTo>
                  <a:pt x="215" y="410"/>
                </a:lnTo>
                <a:lnTo>
                  <a:pt x="206" y="403"/>
                </a:lnTo>
                <a:lnTo>
                  <a:pt x="197" y="403"/>
                </a:lnTo>
                <a:lnTo>
                  <a:pt x="197" y="419"/>
                </a:lnTo>
                <a:lnTo>
                  <a:pt x="206" y="429"/>
                </a:lnTo>
                <a:lnTo>
                  <a:pt x="215" y="445"/>
                </a:lnTo>
                <a:lnTo>
                  <a:pt x="223" y="445"/>
                </a:lnTo>
                <a:lnTo>
                  <a:pt x="223" y="462"/>
                </a:lnTo>
                <a:lnTo>
                  <a:pt x="232" y="471"/>
                </a:lnTo>
                <a:lnTo>
                  <a:pt x="232" y="481"/>
                </a:lnTo>
                <a:lnTo>
                  <a:pt x="249" y="488"/>
                </a:lnTo>
                <a:lnTo>
                  <a:pt x="249" y="497"/>
                </a:lnTo>
                <a:lnTo>
                  <a:pt x="215" y="497"/>
                </a:lnTo>
                <a:lnTo>
                  <a:pt x="206" y="497"/>
                </a:lnTo>
                <a:lnTo>
                  <a:pt x="206" y="481"/>
                </a:lnTo>
                <a:lnTo>
                  <a:pt x="197" y="481"/>
                </a:lnTo>
                <a:lnTo>
                  <a:pt x="197" y="462"/>
                </a:lnTo>
                <a:lnTo>
                  <a:pt x="189" y="471"/>
                </a:lnTo>
                <a:lnTo>
                  <a:pt x="189" y="481"/>
                </a:lnTo>
                <a:lnTo>
                  <a:pt x="189" y="488"/>
                </a:lnTo>
                <a:lnTo>
                  <a:pt x="189" y="507"/>
                </a:lnTo>
                <a:lnTo>
                  <a:pt x="180" y="507"/>
                </a:lnTo>
                <a:lnTo>
                  <a:pt x="173" y="488"/>
                </a:lnTo>
                <a:lnTo>
                  <a:pt x="163" y="488"/>
                </a:lnTo>
                <a:lnTo>
                  <a:pt x="154" y="481"/>
                </a:lnTo>
                <a:lnTo>
                  <a:pt x="154" y="471"/>
                </a:lnTo>
                <a:lnTo>
                  <a:pt x="154" y="462"/>
                </a:lnTo>
                <a:lnTo>
                  <a:pt x="154" y="455"/>
                </a:lnTo>
                <a:lnTo>
                  <a:pt x="145" y="445"/>
                </a:lnTo>
                <a:lnTo>
                  <a:pt x="137" y="455"/>
                </a:lnTo>
                <a:lnTo>
                  <a:pt x="137" y="462"/>
                </a:lnTo>
                <a:lnTo>
                  <a:pt x="145" y="471"/>
                </a:lnTo>
                <a:lnTo>
                  <a:pt x="137" y="481"/>
                </a:lnTo>
                <a:lnTo>
                  <a:pt x="128" y="481"/>
                </a:lnTo>
                <a:lnTo>
                  <a:pt x="118" y="481"/>
                </a:lnTo>
                <a:lnTo>
                  <a:pt x="111" y="462"/>
                </a:lnTo>
                <a:lnTo>
                  <a:pt x="111" y="455"/>
                </a:lnTo>
                <a:lnTo>
                  <a:pt x="111" y="445"/>
                </a:lnTo>
                <a:lnTo>
                  <a:pt x="102" y="438"/>
                </a:lnTo>
                <a:lnTo>
                  <a:pt x="111" y="429"/>
                </a:lnTo>
                <a:lnTo>
                  <a:pt x="111" y="410"/>
                </a:lnTo>
                <a:lnTo>
                  <a:pt x="111" y="403"/>
                </a:lnTo>
                <a:lnTo>
                  <a:pt x="102" y="393"/>
                </a:lnTo>
                <a:lnTo>
                  <a:pt x="95" y="386"/>
                </a:lnTo>
                <a:lnTo>
                  <a:pt x="85" y="386"/>
                </a:lnTo>
                <a:lnTo>
                  <a:pt x="76" y="367"/>
                </a:lnTo>
                <a:lnTo>
                  <a:pt x="76" y="360"/>
                </a:lnTo>
                <a:lnTo>
                  <a:pt x="85" y="351"/>
                </a:lnTo>
                <a:lnTo>
                  <a:pt x="95" y="351"/>
                </a:lnTo>
                <a:lnTo>
                  <a:pt x="102" y="351"/>
                </a:lnTo>
                <a:lnTo>
                  <a:pt x="111" y="351"/>
                </a:lnTo>
                <a:lnTo>
                  <a:pt x="118" y="351"/>
                </a:lnTo>
                <a:lnTo>
                  <a:pt x="128" y="341"/>
                </a:lnTo>
                <a:lnTo>
                  <a:pt x="137" y="341"/>
                </a:lnTo>
                <a:lnTo>
                  <a:pt x="145" y="341"/>
                </a:lnTo>
                <a:lnTo>
                  <a:pt x="154" y="341"/>
                </a:lnTo>
                <a:lnTo>
                  <a:pt x="163" y="341"/>
                </a:lnTo>
                <a:lnTo>
                  <a:pt x="163" y="351"/>
                </a:lnTo>
                <a:lnTo>
                  <a:pt x="180" y="341"/>
                </a:lnTo>
                <a:lnTo>
                  <a:pt x="189" y="351"/>
                </a:lnTo>
                <a:lnTo>
                  <a:pt x="189" y="360"/>
                </a:lnTo>
                <a:lnTo>
                  <a:pt x="197" y="367"/>
                </a:lnTo>
                <a:lnTo>
                  <a:pt x="206" y="360"/>
                </a:lnTo>
                <a:lnTo>
                  <a:pt x="215" y="360"/>
                </a:lnTo>
                <a:lnTo>
                  <a:pt x="223" y="351"/>
                </a:lnTo>
                <a:lnTo>
                  <a:pt x="206" y="341"/>
                </a:lnTo>
                <a:lnTo>
                  <a:pt x="197" y="334"/>
                </a:lnTo>
                <a:lnTo>
                  <a:pt x="189" y="324"/>
                </a:lnTo>
                <a:lnTo>
                  <a:pt x="173" y="324"/>
                </a:lnTo>
                <a:lnTo>
                  <a:pt x="173" y="334"/>
                </a:lnTo>
                <a:lnTo>
                  <a:pt x="163" y="324"/>
                </a:lnTo>
                <a:lnTo>
                  <a:pt x="154" y="317"/>
                </a:lnTo>
                <a:lnTo>
                  <a:pt x="137" y="317"/>
                </a:lnTo>
                <a:lnTo>
                  <a:pt x="128" y="317"/>
                </a:lnTo>
                <a:lnTo>
                  <a:pt x="118" y="317"/>
                </a:lnTo>
                <a:lnTo>
                  <a:pt x="102" y="324"/>
                </a:lnTo>
                <a:lnTo>
                  <a:pt x="102" y="317"/>
                </a:lnTo>
                <a:lnTo>
                  <a:pt x="95" y="317"/>
                </a:lnTo>
                <a:lnTo>
                  <a:pt x="85" y="317"/>
                </a:lnTo>
                <a:lnTo>
                  <a:pt x="76" y="324"/>
                </a:lnTo>
                <a:lnTo>
                  <a:pt x="59" y="317"/>
                </a:lnTo>
                <a:lnTo>
                  <a:pt x="50" y="317"/>
                </a:lnTo>
                <a:lnTo>
                  <a:pt x="50" y="308"/>
                </a:lnTo>
                <a:lnTo>
                  <a:pt x="50" y="298"/>
                </a:lnTo>
                <a:lnTo>
                  <a:pt x="43" y="291"/>
                </a:lnTo>
                <a:lnTo>
                  <a:pt x="50" y="282"/>
                </a:lnTo>
                <a:lnTo>
                  <a:pt x="59" y="282"/>
                </a:lnTo>
                <a:lnTo>
                  <a:pt x="76" y="282"/>
                </a:lnTo>
                <a:lnTo>
                  <a:pt x="76" y="272"/>
                </a:lnTo>
                <a:lnTo>
                  <a:pt x="76" y="265"/>
                </a:lnTo>
                <a:lnTo>
                  <a:pt x="69" y="265"/>
                </a:lnTo>
                <a:lnTo>
                  <a:pt x="59" y="265"/>
                </a:lnTo>
                <a:lnTo>
                  <a:pt x="50" y="265"/>
                </a:lnTo>
                <a:lnTo>
                  <a:pt x="43" y="272"/>
                </a:lnTo>
                <a:lnTo>
                  <a:pt x="33" y="265"/>
                </a:lnTo>
                <a:lnTo>
                  <a:pt x="33" y="246"/>
                </a:lnTo>
                <a:lnTo>
                  <a:pt x="33" y="239"/>
                </a:lnTo>
                <a:lnTo>
                  <a:pt x="17" y="239"/>
                </a:lnTo>
                <a:lnTo>
                  <a:pt x="7" y="230"/>
                </a:lnTo>
                <a:lnTo>
                  <a:pt x="0" y="213"/>
                </a:lnTo>
                <a:lnTo>
                  <a:pt x="7" y="213"/>
                </a:lnTo>
                <a:lnTo>
                  <a:pt x="7" y="204"/>
                </a:lnTo>
                <a:lnTo>
                  <a:pt x="7" y="197"/>
                </a:lnTo>
                <a:lnTo>
                  <a:pt x="17" y="187"/>
                </a:lnTo>
                <a:lnTo>
                  <a:pt x="26" y="187"/>
                </a:lnTo>
                <a:lnTo>
                  <a:pt x="43" y="178"/>
                </a:lnTo>
                <a:lnTo>
                  <a:pt x="33" y="168"/>
                </a:lnTo>
                <a:lnTo>
                  <a:pt x="43" y="168"/>
                </a:lnTo>
                <a:lnTo>
                  <a:pt x="50" y="161"/>
                </a:lnTo>
                <a:lnTo>
                  <a:pt x="59" y="145"/>
                </a:lnTo>
                <a:lnTo>
                  <a:pt x="69" y="135"/>
                </a:lnTo>
                <a:lnTo>
                  <a:pt x="69" y="128"/>
                </a:lnTo>
                <a:lnTo>
                  <a:pt x="69" y="119"/>
                </a:lnTo>
                <a:lnTo>
                  <a:pt x="59" y="109"/>
                </a:lnTo>
                <a:lnTo>
                  <a:pt x="50" y="102"/>
                </a:lnTo>
                <a:lnTo>
                  <a:pt x="59" y="93"/>
                </a:lnTo>
                <a:lnTo>
                  <a:pt x="69" y="93"/>
                </a:lnTo>
                <a:lnTo>
                  <a:pt x="69" y="83"/>
                </a:lnTo>
                <a:lnTo>
                  <a:pt x="76" y="93"/>
                </a:lnTo>
                <a:lnTo>
                  <a:pt x="95" y="93"/>
                </a:lnTo>
                <a:lnTo>
                  <a:pt x="102" y="93"/>
                </a:lnTo>
                <a:lnTo>
                  <a:pt x="118" y="83"/>
                </a:lnTo>
                <a:lnTo>
                  <a:pt x="137" y="83"/>
                </a:lnTo>
                <a:lnTo>
                  <a:pt x="145" y="76"/>
                </a:lnTo>
                <a:lnTo>
                  <a:pt x="154" y="66"/>
                </a:lnTo>
                <a:lnTo>
                  <a:pt x="163" y="76"/>
                </a:lnTo>
                <a:lnTo>
                  <a:pt x="173" y="76"/>
                </a:lnTo>
                <a:lnTo>
                  <a:pt x="180" y="76"/>
                </a:lnTo>
                <a:lnTo>
                  <a:pt x="189" y="66"/>
                </a:lnTo>
                <a:lnTo>
                  <a:pt x="197" y="59"/>
                </a:lnTo>
                <a:lnTo>
                  <a:pt x="215" y="50"/>
                </a:lnTo>
                <a:lnTo>
                  <a:pt x="197" y="5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9" name="Freeform 546">
            <a:extLst>
              <a:ext uri="{FF2B5EF4-FFF2-40B4-BE49-F238E27FC236}">
                <a16:creationId xmlns:a16="http://schemas.microsoft.com/office/drawing/2014/main" id="{79D90B45-1E5E-4E14-80A6-25B8564BE549}"/>
              </a:ext>
            </a:extLst>
          </p:cNvPr>
          <p:cNvSpPr>
            <a:spLocks/>
          </p:cNvSpPr>
          <p:nvPr/>
        </p:nvSpPr>
        <p:spPr bwMode="auto">
          <a:xfrm>
            <a:off x="2248507" y="3418103"/>
            <a:ext cx="107764" cy="229776"/>
          </a:xfrm>
          <a:custGeom>
            <a:avLst/>
            <a:gdLst>
              <a:gd name="T0" fmla="*/ 114 w 121"/>
              <a:gd name="T1" fmla="*/ 154 h 258"/>
              <a:gd name="T2" fmla="*/ 121 w 121"/>
              <a:gd name="T3" fmla="*/ 164 h 258"/>
              <a:gd name="T4" fmla="*/ 121 w 121"/>
              <a:gd name="T5" fmla="*/ 173 h 258"/>
              <a:gd name="T6" fmla="*/ 121 w 121"/>
              <a:gd name="T7" fmla="*/ 180 h 258"/>
              <a:gd name="T8" fmla="*/ 114 w 121"/>
              <a:gd name="T9" fmla="*/ 190 h 258"/>
              <a:gd name="T10" fmla="*/ 104 w 121"/>
              <a:gd name="T11" fmla="*/ 206 h 258"/>
              <a:gd name="T12" fmla="*/ 95 w 121"/>
              <a:gd name="T13" fmla="*/ 213 h 258"/>
              <a:gd name="T14" fmla="*/ 88 w 121"/>
              <a:gd name="T15" fmla="*/ 213 h 258"/>
              <a:gd name="T16" fmla="*/ 95 w 121"/>
              <a:gd name="T17" fmla="*/ 223 h 258"/>
              <a:gd name="T18" fmla="*/ 78 w 121"/>
              <a:gd name="T19" fmla="*/ 232 h 258"/>
              <a:gd name="T20" fmla="*/ 69 w 121"/>
              <a:gd name="T21" fmla="*/ 232 h 258"/>
              <a:gd name="T22" fmla="*/ 62 w 121"/>
              <a:gd name="T23" fmla="*/ 242 h 258"/>
              <a:gd name="T24" fmla="*/ 62 w 121"/>
              <a:gd name="T25" fmla="*/ 249 h 258"/>
              <a:gd name="T26" fmla="*/ 62 w 121"/>
              <a:gd name="T27" fmla="*/ 258 h 258"/>
              <a:gd name="T28" fmla="*/ 52 w 121"/>
              <a:gd name="T29" fmla="*/ 258 h 258"/>
              <a:gd name="T30" fmla="*/ 43 w 121"/>
              <a:gd name="T31" fmla="*/ 242 h 258"/>
              <a:gd name="T32" fmla="*/ 43 w 121"/>
              <a:gd name="T33" fmla="*/ 232 h 258"/>
              <a:gd name="T34" fmla="*/ 26 w 121"/>
              <a:gd name="T35" fmla="*/ 232 h 258"/>
              <a:gd name="T36" fmla="*/ 19 w 121"/>
              <a:gd name="T37" fmla="*/ 223 h 258"/>
              <a:gd name="T38" fmla="*/ 0 w 121"/>
              <a:gd name="T39" fmla="*/ 223 h 258"/>
              <a:gd name="T40" fmla="*/ 0 w 121"/>
              <a:gd name="T41" fmla="*/ 206 h 258"/>
              <a:gd name="T42" fmla="*/ 10 w 121"/>
              <a:gd name="T43" fmla="*/ 206 h 258"/>
              <a:gd name="T44" fmla="*/ 10 w 121"/>
              <a:gd name="T45" fmla="*/ 197 h 258"/>
              <a:gd name="T46" fmla="*/ 0 w 121"/>
              <a:gd name="T47" fmla="*/ 197 h 258"/>
              <a:gd name="T48" fmla="*/ 0 w 121"/>
              <a:gd name="T49" fmla="*/ 190 h 258"/>
              <a:gd name="T50" fmla="*/ 10 w 121"/>
              <a:gd name="T51" fmla="*/ 180 h 258"/>
              <a:gd name="T52" fmla="*/ 0 w 121"/>
              <a:gd name="T53" fmla="*/ 173 h 258"/>
              <a:gd name="T54" fmla="*/ 0 w 121"/>
              <a:gd name="T55" fmla="*/ 164 h 258"/>
              <a:gd name="T56" fmla="*/ 0 w 121"/>
              <a:gd name="T57" fmla="*/ 154 h 258"/>
              <a:gd name="T58" fmla="*/ 10 w 121"/>
              <a:gd name="T59" fmla="*/ 147 h 258"/>
              <a:gd name="T60" fmla="*/ 10 w 121"/>
              <a:gd name="T61" fmla="*/ 128 h 258"/>
              <a:gd name="T62" fmla="*/ 10 w 121"/>
              <a:gd name="T63" fmla="*/ 121 h 258"/>
              <a:gd name="T64" fmla="*/ 10 w 121"/>
              <a:gd name="T65" fmla="*/ 111 h 258"/>
              <a:gd name="T66" fmla="*/ 10 w 121"/>
              <a:gd name="T67" fmla="*/ 104 h 258"/>
              <a:gd name="T68" fmla="*/ 10 w 121"/>
              <a:gd name="T69" fmla="*/ 95 h 258"/>
              <a:gd name="T70" fmla="*/ 10 w 121"/>
              <a:gd name="T71" fmla="*/ 85 h 258"/>
              <a:gd name="T72" fmla="*/ 19 w 121"/>
              <a:gd name="T73" fmla="*/ 85 h 258"/>
              <a:gd name="T74" fmla="*/ 19 w 121"/>
              <a:gd name="T75" fmla="*/ 78 h 258"/>
              <a:gd name="T76" fmla="*/ 19 w 121"/>
              <a:gd name="T77" fmla="*/ 69 h 258"/>
              <a:gd name="T78" fmla="*/ 10 w 121"/>
              <a:gd name="T79" fmla="*/ 59 h 258"/>
              <a:gd name="T80" fmla="*/ 10 w 121"/>
              <a:gd name="T81" fmla="*/ 43 h 258"/>
              <a:gd name="T82" fmla="*/ 10 w 121"/>
              <a:gd name="T83" fmla="*/ 33 h 258"/>
              <a:gd name="T84" fmla="*/ 10 w 121"/>
              <a:gd name="T85" fmla="*/ 26 h 258"/>
              <a:gd name="T86" fmla="*/ 10 w 121"/>
              <a:gd name="T87" fmla="*/ 17 h 258"/>
              <a:gd name="T88" fmla="*/ 19 w 121"/>
              <a:gd name="T89" fmla="*/ 10 h 258"/>
              <a:gd name="T90" fmla="*/ 26 w 121"/>
              <a:gd name="T91" fmla="*/ 10 h 258"/>
              <a:gd name="T92" fmla="*/ 43 w 121"/>
              <a:gd name="T93" fmla="*/ 0 h 258"/>
              <a:gd name="T94" fmla="*/ 52 w 121"/>
              <a:gd name="T95" fmla="*/ 10 h 258"/>
              <a:gd name="T96" fmla="*/ 62 w 121"/>
              <a:gd name="T97" fmla="*/ 17 h 258"/>
              <a:gd name="T98" fmla="*/ 78 w 121"/>
              <a:gd name="T99" fmla="*/ 17 h 258"/>
              <a:gd name="T100" fmla="*/ 78 w 121"/>
              <a:gd name="T101" fmla="*/ 26 h 258"/>
              <a:gd name="T102" fmla="*/ 88 w 121"/>
              <a:gd name="T103" fmla="*/ 43 h 258"/>
              <a:gd name="T104" fmla="*/ 88 w 121"/>
              <a:gd name="T105" fmla="*/ 52 h 258"/>
              <a:gd name="T106" fmla="*/ 78 w 121"/>
              <a:gd name="T107" fmla="*/ 59 h 258"/>
              <a:gd name="T108" fmla="*/ 78 w 121"/>
              <a:gd name="T109" fmla="*/ 69 h 258"/>
              <a:gd name="T110" fmla="*/ 78 w 121"/>
              <a:gd name="T111" fmla="*/ 85 h 258"/>
              <a:gd name="T112" fmla="*/ 88 w 121"/>
              <a:gd name="T113" fmla="*/ 95 h 258"/>
              <a:gd name="T114" fmla="*/ 88 w 121"/>
              <a:gd name="T115" fmla="*/ 104 h 258"/>
              <a:gd name="T116" fmla="*/ 88 w 121"/>
              <a:gd name="T117" fmla="*/ 121 h 258"/>
              <a:gd name="T118" fmla="*/ 95 w 121"/>
              <a:gd name="T119" fmla="*/ 121 h 258"/>
              <a:gd name="T120" fmla="*/ 95 w 121"/>
              <a:gd name="T121" fmla="*/ 138 h 258"/>
              <a:gd name="T122" fmla="*/ 104 w 121"/>
              <a:gd name="T123" fmla="*/ 147 h 258"/>
              <a:gd name="T124" fmla="*/ 114 w 121"/>
              <a:gd name="T125" fmla="*/ 154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21" h="258">
                <a:moveTo>
                  <a:pt x="114" y="154"/>
                </a:moveTo>
                <a:lnTo>
                  <a:pt x="121" y="164"/>
                </a:lnTo>
                <a:lnTo>
                  <a:pt x="121" y="173"/>
                </a:lnTo>
                <a:lnTo>
                  <a:pt x="121" y="180"/>
                </a:lnTo>
                <a:lnTo>
                  <a:pt x="114" y="190"/>
                </a:lnTo>
                <a:lnTo>
                  <a:pt x="104" y="206"/>
                </a:lnTo>
                <a:lnTo>
                  <a:pt x="95" y="213"/>
                </a:lnTo>
                <a:lnTo>
                  <a:pt x="88" y="213"/>
                </a:lnTo>
                <a:lnTo>
                  <a:pt x="95" y="223"/>
                </a:lnTo>
                <a:lnTo>
                  <a:pt x="78" y="232"/>
                </a:lnTo>
                <a:lnTo>
                  <a:pt x="69" y="232"/>
                </a:lnTo>
                <a:lnTo>
                  <a:pt x="62" y="242"/>
                </a:lnTo>
                <a:lnTo>
                  <a:pt x="62" y="249"/>
                </a:lnTo>
                <a:lnTo>
                  <a:pt x="62" y="258"/>
                </a:lnTo>
                <a:lnTo>
                  <a:pt x="52" y="258"/>
                </a:lnTo>
                <a:lnTo>
                  <a:pt x="43" y="242"/>
                </a:lnTo>
                <a:lnTo>
                  <a:pt x="43" y="232"/>
                </a:lnTo>
                <a:lnTo>
                  <a:pt x="26" y="232"/>
                </a:lnTo>
                <a:lnTo>
                  <a:pt x="19" y="223"/>
                </a:lnTo>
                <a:lnTo>
                  <a:pt x="0" y="223"/>
                </a:lnTo>
                <a:lnTo>
                  <a:pt x="0" y="206"/>
                </a:lnTo>
                <a:lnTo>
                  <a:pt x="10" y="206"/>
                </a:lnTo>
                <a:lnTo>
                  <a:pt x="10" y="197"/>
                </a:lnTo>
                <a:lnTo>
                  <a:pt x="0" y="197"/>
                </a:lnTo>
                <a:lnTo>
                  <a:pt x="0" y="190"/>
                </a:lnTo>
                <a:lnTo>
                  <a:pt x="10" y="180"/>
                </a:lnTo>
                <a:lnTo>
                  <a:pt x="0" y="173"/>
                </a:lnTo>
                <a:lnTo>
                  <a:pt x="0" y="164"/>
                </a:lnTo>
                <a:lnTo>
                  <a:pt x="0" y="154"/>
                </a:lnTo>
                <a:lnTo>
                  <a:pt x="10" y="147"/>
                </a:lnTo>
                <a:lnTo>
                  <a:pt x="10" y="128"/>
                </a:lnTo>
                <a:lnTo>
                  <a:pt x="10" y="121"/>
                </a:lnTo>
                <a:lnTo>
                  <a:pt x="10" y="111"/>
                </a:lnTo>
                <a:lnTo>
                  <a:pt x="10" y="104"/>
                </a:lnTo>
                <a:lnTo>
                  <a:pt x="10" y="95"/>
                </a:lnTo>
                <a:lnTo>
                  <a:pt x="10" y="85"/>
                </a:lnTo>
                <a:lnTo>
                  <a:pt x="19" y="85"/>
                </a:lnTo>
                <a:lnTo>
                  <a:pt x="19" y="78"/>
                </a:lnTo>
                <a:lnTo>
                  <a:pt x="19" y="69"/>
                </a:lnTo>
                <a:lnTo>
                  <a:pt x="10" y="59"/>
                </a:lnTo>
                <a:lnTo>
                  <a:pt x="10" y="43"/>
                </a:lnTo>
                <a:lnTo>
                  <a:pt x="10" y="33"/>
                </a:lnTo>
                <a:lnTo>
                  <a:pt x="10" y="26"/>
                </a:lnTo>
                <a:lnTo>
                  <a:pt x="10" y="17"/>
                </a:lnTo>
                <a:lnTo>
                  <a:pt x="19" y="10"/>
                </a:lnTo>
                <a:lnTo>
                  <a:pt x="26" y="10"/>
                </a:lnTo>
                <a:lnTo>
                  <a:pt x="43" y="0"/>
                </a:lnTo>
                <a:lnTo>
                  <a:pt x="52" y="10"/>
                </a:lnTo>
                <a:lnTo>
                  <a:pt x="62" y="17"/>
                </a:lnTo>
                <a:lnTo>
                  <a:pt x="78" y="17"/>
                </a:lnTo>
                <a:lnTo>
                  <a:pt x="78" y="26"/>
                </a:lnTo>
                <a:lnTo>
                  <a:pt x="88" y="43"/>
                </a:lnTo>
                <a:lnTo>
                  <a:pt x="88" y="52"/>
                </a:lnTo>
                <a:lnTo>
                  <a:pt x="78" y="59"/>
                </a:lnTo>
                <a:lnTo>
                  <a:pt x="78" y="69"/>
                </a:lnTo>
                <a:lnTo>
                  <a:pt x="78" y="85"/>
                </a:lnTo>
                <a:lnTo>
                  <a:pt x="88" y="95"/>
                </a:lnTo>
                <a:lnTo>
                  <a:pt x="88" y="104"/>
                </a:lnTo>
                <a:lnTo>
                  <a:pt x="88" y="121"/>
                </a:lnTo>
                <a:lnTo>
                  <a:pt x="95" y="121"/>
                </a:lnTo>
                <a:lnTo>
                  <a:pt x="95" y="138"/>
                </a:lnTo>
                <a:lnTo>
                  <a:pt x="104" y="147"/>
                </a:lnTo>
                <a:lnTo>
                  <a:pt x="114" y="154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0" name="Freeform 547">
            <a:extLst>
              <a:ext uri="{FF2B5EF4-FFF2-40B4-BE49-F238E27FC236}">
                <a16:creationId xmlns:a16="http://schemas.microsoft.com/office/drawing/2014/main" id="{8EB30E63-E54D-4802-B63D-2537F6939D47}"/>
              </a:ext>
            </a:extLst>
          </p:cNvPr>
          <p:cNvSpPr>
            <a:spLocks/>
          </p:cNvSpPr>
          <p:nvPr/>
        </p:nvSpPr>
        <p:spPr bwMode="auto">
          <a:xfrm>
            <a:off x="1890484" y="3061860"/>
            <a:ext cx="595816" cy="487161"/>
          </a:xfrm>
          <a:custGeom>
            <a:avLst/>
            <a:gdLst>
              <a:gd name="T0" fmla="*/ 660 w 669"/>
              <a:gd name="T1" fmla="*/ 462 h 547"/>
              <a:gd name="T2" fmla="*/ 627 w 669"/>
              <a:gd name="T3" fmla="*/ 426 h 547"/>
              <a:gd name="T4" fmla="*/ 608 w 669"/>
              <a:gd name="T5" fmla="*/ 374 h 547"/>
              <a:gd name="T6" fmla="*/ 634 w 669"/>
              <a:gd name="T7" fmla="*/ 341 h 547"/>
              <a:gd name="T8" fmla="*/ 627 w 669"/>
              <a:gd name="T9" fmla="*/ 315 h 547"/>
              <a:gd name="T10" fmla="*/ 608 w 669"/>
              <a:gd name="T11" fmla="*/ 280 h 547"/>
              <a:gd name="T12" fmla="*/ 634 w 669"/>
              <a:gd name="T13" fmla="*/ 237 h 547"/>
              <a:gd name="T14" fmla="*/ 627 w 669"/>
              <a:gd name="T15" fmla="*/ 204 h 547"/>
              <a:gd name="T16" fmla="*/ 575 w 669"/>
              <a:gd name="T17" fmla="*/ 204 h 547"/>
              <a:gd name="T18" fmla="*/ 532 w 669"/>
              <a:gd name="T19" fmla="*/ 194 h 547"/>
              <a:gd name="T20" fmla="*/ 539 w 669"/>
              <a:gd name="T21" fmla="*/ 161 h 547"/>
              <a:gd name="T22" fmla="*/ 506 w 669"/>
              <a:gd name="T23" fmla="*/ 142 h 547"/>
              <a:gd name="T24" fmla="*/ 497 w 669"/>
              <a:gd name="T25" fmla="*/ 90 h 547"/>
              <a:gd name="T26" fmla="*/ 487 w 669"/>
              <a:gd name="T27" fmla="*/ 66 h 547"/>
              <a:gd name="T28" fmla="*/ 445 w 669"/>
              <a:gd name="T29" fmla="*/ 66 h 547"/>
              <a:gd name="T30" fmla="*/ 400 w 669"/>
              <a:gd name="T31" fmla="*/ 66 h 547"/>
              <a:gd name="T32" fmla="*/ 357 w 669"/>
              <a:gd name="T33" fmla="*/ 83 h 547"/>
              <a:gd name="T34" fmla="*/ 315 w 669"/>
              <a:gd name="T35" fmla="*/ 100 h 547"/>
              <a:gd name="T36" fmla="*/ 281 w 669"/>
              <a:gd name="T37" fmla="*/ 90 h 547"/>
              <a:gd name="T38" fmla="*/ 255 w 669"/>
              <a:gd name="T39" fmla="*/ 74 h 547"/>
              <a:gd name="T40" fmla="*/ 229 w 669"/>
              <a:gd name="T41" fmla="*/ 38 h 547"/>
              <a:gd name="T42" fmla="*/ 208 w 669"/>
              <a:gd name="T43" fmla="*/ 5 h 547"/>
              <a:gd name="T44" fmla="*/ 158 w 669"/>
              <a:gd name="T45" fmla="*/ 10 h 547"/>
              <a:gd name="T46" fmla="*/ 99 w 669"/>
              <a:gd name="T47" fmla="*/ 26 h 547"/>
              <a:gd name="T48" fmla="*/ 76 w 669"/>
              <a:gd name="T49" fmla="*/ 38 h 547"/>
              <a:gd name="T50" fmla="*/ 38 w 669"/>
              <a:gd name="T51" fmla="*/ 19 h 547"/>
              <a:gd name="T52" fmla="*/ 14 w 669"/>
              <a:gd name="T53" fmla="*/ 40 h 547"/>
              <a:gd name="T54" fmla="*/ 0 w 669"/>
              <a:gd name="T55" fmla="*/ 66 h 547"/>
              <a:gd name="T56" fmla="*/ 31 w 669"/>
              <a:gd name="T57" fmla="*/ 83 h 547"/>
              <a:gd name="T58" fmla="*/ 21 w 669"/>
              <a:gd name="T59" fmla="*/ 116 h 547"/>
              <a:gd name="T60" fmla="*/ 14 w 669"/>
              <a:gd name="T61" fmla="*/ 142 h 547"/>
              <a:gd name="T62" fmla="*/ 31 w 669"/>
              <a:gd name="T63" fmla="*/ 185 h 547"/>
              <a:gd name="T64" fmla="*/ 57 w 669"/>
              <a:gd name="T65" fmla="*/ 135 h 547"/>
              <a:gd name="T66" fmla="*/ 90 w 669"/>
              <a:gd name="T67" fmla="*/ 161 h 547"/>
              <a:gd name="T68" fmla="*/ 90 w 669"/>
              <a:gd name="T69" fmla="*/ 220 h 547"/>
              <a:gd name="T70" fmla="*/ 125 w 669"/>
              <a:gd name="T71" fmla="*/ 237 h 547"/>
              <a:gd name="T72" fmla="*/ 125 w 669"/>
              <a:gd name="T73" fmla="*/ 263 h 547"/>
              <a:gd name="T74" fmla="*/ 161 w 669"/>
              <a:gd name="T75" fmla="*/ 306 h 547"/>
              <a:gd name="T76" fmla="*/ 220 w 669"/>
              <a:gd name="T77" fmla="*/ 324 h 547"/>
              <a:gd name="T78" fmla="*/ 272 w 669"/>
              <a:gd name="T79" fmla="*/ 374 h 547"/>
              <a:gd name="T80" fmla="*/ 315 w 669"/>
              <a:gd name="T81" fmla="*/ 400 h 547"/>
              <a:gd name="T82" fmla="*/ 360 w 669"/>
              <a:gd name="T83" fmla="*/ 417 h 547"/>
              <a:gd name="T84" fmla="*/ 376 w 669"/>
              <a:gd name="T85" fmla="*/ 452 h 547"/>
              <a:gd name="T86" fmla="*/ 412 w 669"/>
              <a:gd name="T87" fmla="*/ 462 h 547"/>
              <a:gd name="T88" fmla="*/ 412 w 669"/>
              <a:gd name="T89" fmla="*/ 417 h 547"/>
              <a:gd name="T90" fmla="*/ 454 w 669"/>
              <a:gd name="T91" fmla="*/ 410 h 547"/>
              <a:gd name="T92" fmla="*/ 487 w 669"/>
              <a:gd name="T93" fmla="*/ 443 h 547"/>
              <a:gd name="T94" fmla="*/ 480 w 669"/>
              <a:gd name="T95" fmla="*/ 488 h 547"/>
              <a:gd name="T96" fmla="*/ 497 w 669"/>
              <a:gd name="T97" fmla="*/ 521 h 547"/>
              <a:gd name="T98" fmla="*/ 523 w 669"/>
              <a:gd name="T99" fmla="*/ 540 h 547"/>
              <a:gd name="T100" fmla="*/ 558 w 669"/>
              <a:gd name="T101" fmla="*/ 540 h 547"/>
              <a:gd name="T102" fmla="*/ 608 w 669"/>
              <a:gd name="T103" fmla="*/ 511 h 547"/>
              <a:gd name="T104" fmla="*/ 643 w 669"/>
              <a:gd name="T105" fmla="*/ 511 h 5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69" h="547">
                <a:moveTo>
                  <a:pt x="653" y="488"/>
                </a:moveTo>
                <a:lnTo>
                  <a:pt x="660" y="478"/>
                </a:lnTo>
                <a:lnTo>
                  <a:pt x="660" y="469"/>
                </a:lnTo>
                <a:lnTo>
                  <a:pt x="660" y="462"/>
                </a:lnTo>
                <a:lnTo>
                  <a:pt x="653" y="452"/>
                </a:lnTo>
                <a:lnTo>
                  <a:pt x="643" y="443"/>
                </a:lnTo>
                <a:lnTo>
                  <a:pt x="634" y="436"/>
                </a:lnTo>
                <a:lnTo>
                  <a:pt x="627" y="426"/>
                </a:lnTo>
                <a:lnTo>
                  <a:pt x="608" y="417"/>
                </a:lnTo>
                <a:lnTo>
                  <a:pt x="608" y="400"/>
                </a:lnTo>
                <a:lnTo>
                  <a:pt x="608" y="393"/>
                </a:lnTo>
                <a:lnTo>
                  <a:pt x="608" y="374"/>
                </a:lnTo>
                <a:lnTo>
                  <a:pt x="617" y="374"/>
                </a:lnTo>
                <a:lnTo>
                  <a:pt x="617" y="358"/>
                </a:lnTo>
                <a:lnTo>
                  <a:pt x="617" y="348"/>
                </a:lnTo>
                <a:lnTo>
                  <a:pt x="634" y="341"/>
                </a:lnTo>
                <a:lnTo>
                  <a:pt x="634" y="332"/>
                </a:lnTo>
                <a:lnTo>
                  <a:pt x="643" y="324"/>
                </a:lnTo>
                <a:lnTo>
                  <a:pt x="634" y="315"/>
                </a:lnTo>
                <a:lnTo>
                  <a:pt x="627" y="315"/>
                </a:lnTo>
                <a:lnTo>
                  <a:pt x="617" y="315"/>
                </a:lnTo>
                <a:lnTo>
                  <a:pt x="617" y="306"/>
                </a:lnTo>
                <a:lnTo>
                  <a:pt x="608" y="298"/>
                </a:lnTo>
                <a:lnTo>
                  <a:pt x="608" y="280"/>
                </a:lnTo>
                <a:lnTo>
                  <a:pt x="601" y="263"/>
                </a:lnTo>
                <a:lnTo>
                  <a:pt x="608" y="263"/>
                </a:lnTo>
                <a:lnTo>
                  <a:pt x="617" y="253"/>
                </a:lnTo>
                <a:lnTo>
                  <a:pt x="634" y="237"/>
                </a:lnTo>
                <a:lnTo>
                  <a:pt x="627" y="220"/>
                </a:lnTo>
                <a:lnTo>
                  <a:pt x="617" y="220"/>
                </a:lnTo>
                <a:lnTo>
                  <a:pt x="617" y="211"/>
                </a:lnTo>
                <a:lnTo>
                  <a:pt x="627" y="204"/>
                </a:lnTo>
                <a:lnTo>
                  <a:pt x="617" y="194"/>
                </a:lnTo>
                <a:lnTo>
                  <a:pt x="601" y="204"/>
                </a:lnTo>
                <a:lnTo>
                  <a:pt x="591" y="211"/>
                </a:lnTo>
                <a:lnTo>
                  <a:pt x="575" y="204"/>
                </a:lnTo>
                <a:lnTo>
                  <a:pt x="565" y="194"/>
                </a:lnTo>
                <a:lnTo>
                  <a:pt x="558" y="194"/>
                </a:lnTo>
                <a:lnTo>
                  <a:pt x="539" y="194"/>
                </a:lnTo>
                <a:lnTo>
                  <a:pt x="532" y="194"/>
                </a:lnTo>
                <a:lnTo>
                  <a:pt x="532" y="185"/>
                </a:lnTo>
                <a:lnTo>
                  <a:pt x="532" y="178"/>
                </a:lnTo>
                <a:lnTo>
                  <a:pt x="539" y="168"/>
                </a:lnTo>
                <a:lnTo>
                  <a:pt x="539" y="161"/>
                </a:lnTo>
                <a:lnTo>
                  <a:pt x="532" y="152"/>
                </a:lnTo>
                <a:lnTo>
                  <a:pt x="523" y="142"/>
                </a:lnTo>
                <a:lnTo>
                  <a:pt x="516" y="142"/>
                </a:lnTo>
                <a:lnTo>
                  <a:pt x="506" y="142"/>
                </a:lnTo>
                <a:lnTo>
                  <a:pt x="506" y="126"/>
                </a:lnTo>
                <a:lnTo>
                  <a:pt x="497" y="116"/>
                </a:lnTo>
                <a:lnTo>
                  <a:pt x="497" y="109"/>
                </a:lnTo>
                <a:lnTo>
                  <a:pt x="497" y="90"/>
                </a:lnTo>
                <a:lnTo>
                  <a:pt x="497" y="83"/>
                </a:lnTo>
                <a:lnTo>
                  <a:pt x="487" y="83"/>
                </a:lnTo>
                <a:lnTo>
                  <a:pt x="480" y="83"/>
                </a:lnTo>
                <a:lnTo>
                  <a:pt x="487" y="66"/>
                </a:lnTo>
                <a:lnTo>
                  <a:pt x="475" y="62"/>
                </a:lnTo>
                <a:lnTo>
                  <a:pt x="464" y="57"/>
                </a:lnTo>
                <a:lnTo>
                  <a:pt x="445" y="57"/>
                </a:lnTo>
                <a:lnTo>
                  <a:pt x="445" y="66"/>
                </a:lnTo>
                <a:lnTo>
                  <a:pt x="431" y="69"/>
                </a:lnTo>
                <a:lnTo>
                  <a:pt x="428" y="69"/>
                </a:lnTo>
                <a:lnTo>
                  <a:pt x="419" y="59"/>
                </a:lnTo>
                <a:lnTo>
                  <a:pt x="400" y="66"/>
                </a:lnTo>
                <a:lnTo>
                  <a:pt x="388" y="74"/>
                </a:lnTo>
                <a:lnTo>
                  <a:pt x="378" y="76"/>
                </a:lnTo>
                <a:lnTo>
                  <a:pt x="364" y="76"/>
                </a:lnTo>
                <a:lnTo>
                  <a:pt x="357" y="83"/>
                </a:lnTo>
                <a:lnTo>
                  <a:pt x="348" y="93"/>
                </a:lnTo>
                <a:lnTo>
                  <a:pt x="338" y="102"/>
                </a:lnTo>
                <a:lnTo>
                  <a:pt x="331" y="104"/>
                </a:lnTo>
                <a:lnTo>
                  <a:pt x="315" y="100"/>
                </a:lnTo>
                <a:lnTo>
                  <a:pt x="308" y="100"/>
                </a:lnTo>
                <a:lnTo>
                  <a:pt x="298" y="100"/>
                </a:lnTo>
                <a:lnTo>
                  <a:pt x="289" y="100"/>
                </a:lnTo>
                <a:lnTo>
                  <a:pt x="281" y="90"/>
                </a:lnTo>
                <a:lnTo>
                  <a:pt x="272" y="90"/>
                </a:lnTo>
                <a:lnTo>
                  <a:pt x="272" y="83"/>
                </a:lnTo>
                <a:lnTo>
                  <a:pt x="263" y="83"/>
                </a:lnTo>
                <a:lnTo>
                  <a:pt x="255" y="74"/>
                </a:lnTo>
                <a:lnTo>
                  <a:pt x="246" y="66"/>
                </a:lnTo>
                <a:lnTo>
                  <a:pt x="239" y="57"/>
                </a:lnTo>
                <a:lnTo>
                  <a:pt x="229" y="48"/>
                </a:lnTo>
                <a:lnTo>
                  <a:pt x="229" y="38"/>
                </a:lnTo>
                <a:lnTo>
                  <a:pt x="229" y="31"/>
                </a:lnTo>
                <a:lnTo>
                  <a:pt x="220" y="22"/>
                </a:lnTo>
                <a:lnTo>
                  <a:pt x="213" y="12"/>
                </a:lnTo>
                <a:lnTo>
                  <a:pt x="208" y="5"/>
                </a:lnTo>
                <a:lnTo>
                  <a:pt x="189" y="0"/>
                </a:lnTo>
                <a:lnTo>
                  <a:pt x="177" y="10"/>
                </a:lnTo>
                <a:lnTo>
                  <a:pt x="166" y="7"/>
                </a:lnTo>
                <a:lnTo>
                  <a:pt x="158" y="10"/>
                </a:lnTo>
                <a:lnTo>
                  <a:pt x="151" y="12"/>
                </a:lnTo>
                <a:lnTo>
                  <a:pt x="142" y="12"/>
                </a:lnTo>
                <a:lnTo>
                  <a:pt x="106" y="12"/>
                </a:lnTo>
                <a:lnTo>
                  <a:pt x="99" y="26"/>
                </a:lnTo>
                <a:lnTo>
                  <a:pt x="99" y="29"/>
                </a:lnTo>
                <a:lnTo>
                  <a:pt x="90" y="26"/>
                </a:lnTo>
                <a:lnTo>
                  <a:pt x="78" y="31"/>
                </a:lnTo>
                <a:lnTo>
                  <a:pt x="76" y="38"/>
                </a:lnTo>
                <a:lnTo>
                  <a:pt x="66" y="31"/>
                </a:lnTo>
                <a:lnTo>
                  <a:pt x="57" y="31"/>
                </a:lnTo>
                <a:lnTo>
                  <a:pt x="47" y="31"/>
                </a:lnTo>
                <a:lnTo>
                  <a:pt x="38" y="19"/>
                </a:lnTo>
                <a:lnTo>
                  <a:pt x="31" y="19"/>
                </a:lnTo>
                <a:lnTo>
                  <a:pt x="14" y="24"/>
                </a:lnTo>
                <a:lnTo>
                  <a:pt x="12" y="33"/>
                </a:lnTo>
                <a:lnTo>
                  <a:pt x="14" y="40"/>
                </a:lnTo>
                <a:lnTo>
                  <a:pt x="17" y="48"/>
                </a:lnTo>
                <a:lnTo>
                  <a:pt x="17" y="55"/>
                </a:lnTo>
                <a:lnTo>
                  <a:pt x="14" y="57"/>
                </a:lnTo>
                <a:lnTo>
                  <a:pt x="0" y="66"/>
                </a:lnTo>
                <a:lnTo>
                  <a:pt x="14" y="74"/>
                </a:lnTo>
                <a:lnTo>
                  <a:pt x="14" y="88"/>
                </a:lnTo>
                <a:lnTo>
                  <a:pt x="21" y="90"/>
                </a:lnTo>
                <a:lnTo>
                  <a:pt x="31" y="83"/>
                </a:lnTo>
                <a:lnTo>
                  <a:pt x="31" y="90"/>
                </a:lnTo>
                <a:lnTo>
                  <a:pt x="31" y="100"/>
                </a:lnTo>
                <a:lnTo>
                  <a:pt x="31" y="109"/>
                </a:lnTo>
                <a:lnTo>
                  <a:pt x="21" y="116"/>
                </a:lnTo>
                <a:lnTo>
                  <a:pt x="14" y="116"/>
                </a:lnTo>
                <a:lnTo>
                  <a:pt x="5" y="126"/>
                </a:lnTo>
                <a:lnTo>
                  <a:pt x="14" y="135"/>
                </a:lnTo>
                <a:lnTo>
                  <a:pt x="14" y="142"/>
                </a:lnTo>
                <a:lnTo>
                  <a:pt x="14" y="161"/>
                </a:lnTo>
                <a:lnTo>
                  <a:pt x="21" y="168"/>
                </a:lnTo>
                <a:lnTo>
                  <a:pt x="21" y="178"/>
                </a:lnTo>
                <a:lnTo>
                  <a:pt x="31" y="185"/>
                </a:lnTo>
                <a:lnTo>
                  <a:pt x="40" y="168"/>
                </a:lnTo>
                <a:lnTo>
                  <a:pt x="47" y="161"/>
                </a:lnTo>
                <a:lnTo>
                  <a:pt x="57" y="142"/>
                </a:lnTo>
                <a:lnTo>
                  <a:pt x="57" y="135"/>
                </a:lnTo>
                <a:lnTo>
                  <a:pt x="66" y="135"/>
                </a:lnTo>
                <a:lnTo>
                  <a:pt x="73" y="142"/>
                </a:lnTo>
                <a:lnTo>
                  <a:pt x="83" y="152"/>
                </a:lnTo>
                <a:lnTo>
                  <a:pt x="90" y="161"/>
                </a:lnTo>
                <a:lnTo>
                  <a:pt x="99" y="178"/>
                </a:lnTo>
                <a:lnTo>
                  <a:pt x="90" y="194"/>
                </a:lnTo>
                <a:lnTo>
                  <a:pt x="90" y="204"/>
                </a:lnTo>
                <a:lnTo>
                  <a:pt x="90" y="220"/>
                </a:lnTo>
                <a:lnTo>
                  <a:pt x="109" y="220"/>
                </a:lnTo>
                <a:lnTo>
                  <a:pt x="109" y="230"/>
                </a:lnTo>
                <a:lnTo>
                  <a:pt x="116" y="230"/>
                </a:lnTo>
                <a:lnTo>
                  <a:pt x="125" y="237"/>
                </a:lnTo>
                <a:lnTo>
                  <a:pt x="135" y="246"/>
                </a:lnTo>
                <a:lnTo>
                  <a:pt x="109" y="246"/>
                </a:lnTo>
                <a:lnTo>
                  <a:pt x="116" y="253"/>
                </a:lnTo>
                <a:lnTo>
                  <a:pt x="125" y="263"/>
                </a:lnTo>
                <a:lnTo>
                  <a:pt x="135" y="280"/>
                </a:lnTo>
                <a:lnTo>
                  <a:pt x="142" y="280"/>
                </a:lnTo>
                <a:lnTo>
                  <a:pt x="161" y="298"/>
                </a:lnTo>
                <a:lnTo>
                  <a:pt x="161" y="306"/>
                </a:lnTo>
                <a:lnTo>
                  <a:pt x="177" y="315"/>
                </a:lnTo>
                <a:lnTo>
                  <a:pt x="194" y="306"/>
                </a:lnTo>
                <a:lnTo>
                  <a:pt x="203" y="306"/>
                </a:lnTo>
                <a:lnTo>
                  <a:pt x="220" y="324"/>
                </a:lnTo>
                <a:lnTo>
                  <a:pt x="239" y="341"/>
                </a:lnTo>
                <a:lnTo>
                  <a:pt x="246" y="358"/>
                </a:lnTo>
                <a:lnTo>
                  <a:pt x="263" y="358"/>
                </a:lnTo>
                <a:lnTo>
                  <a:pt x="272" y="374"/>
                </a:lnTo>
                <a:lnTo>
                  <a:pt x="289" y="384"/>
                </a:lnTo>
                <a:lnTo>
                  <a:pt x="298" y="384"/>
                </a:lnTo>
                <a:lnTo>
                  <a:pt x="308" y="400"/>
                </a:lnTo>
                <a:lnTo>
                  <a:pt x="315" y="400"/>
                </a:lnTo>
                <a:lnTo>
                  <a:pt x="324" y="410"/>
                </a:lnTo>
                <a:lnTo>
                  <a:pt x="341" y="410"/>
                </a:lnTo>
                <a:lnTo>
                  <a:pt x="350" y="410"/>
                </a:lnTo>
                <a:lnTo>
                  <a:pt x="360" y="417"/>
                </a:lnTo>
                <a:lnTo>
                  <a:pt x="360" y="426"/>
                </a:lnTo>
                <a:lnTo>
                  <a:pt x="367" y="436"/>
                </a:lnTo>
                <a:lnTo>
                  <a:pt x="376" y="436"/>
                </a:lnTo>
                <a:lnTo>
                  <a:pt x="376" y="452"/>
                </a:lnTo>
                <a:lnTo>
                  <a:pt x="393" y="452"/>
                </a:lnTo>
                <a:lnTo>
                  <a:pt x="393" y="462"/>
                </a:lnTo>
                <a:lnTo>
                  <a:pt x="402" y="462"/>
                </a:lnTo>
                <a:lnTo>
                  <a:pt x="412" y="462"/>
                </a:lnTo>
                <a:lnTo>
                  <a:pt x="412" y="443"/>
                </a:lnTo>
                <a:lnTo>
                  <a:pt x="412" y="436"/>
                </a:lnTo>
                <a:lnTo>
                  <a:pt x="412" y="426"/>
                </a:lnTo>
                <a:lnTo>
                  <a:pt x="412" y="417"/>
                </a:lnTo>
                <a:lnTo>
                  <a:pt x="419" y="410"/>
                </a:lnTo>
                <a:lnTo>
                  <a:pt x="428" y="410"/>
                </a:lnTo>
                <a:lnTo>
                  <a:pt x="445" y="400"/>
                </a:lnTo>
                <a:lnTo>
                  <a:pt x="454" y="410"/>
                </a:lnTo>
                <a:lnTo>
                  <a:pt x="461" y="417"/>
                </a:lnTo>
                <a:lnTo>
                  <a:pt x="480" y="417"/>
                </a:lnTo>
                <a:lnTo>
                  <a:pt x="480" y="426"/>
                </a:lnTo>
                <a:lnTo>
                  <a:pt x="487" y="443"/>
                </a:lnTo>
                <a:lnTo>
                  <a:pt x="487" y="452"/>
                </a:lnTo>
                <a:lnTo>
                  <a:pt x="480" y="462"/>
                </a:lnTo>
                <a:lnTo>
                  <a:pt x="480" y="469"/>
                </a:lnTo>
                <a:lnTo>
                  <a:pt x="480" y="488"/>
                </a:lnTo>
                <a:lnTo>
                  <a:pt x="487" y="495"/>
                </a:lnTo>
                <a:lnTo>
                  <a:pt x="487" y="504"/>
                </a:lnTo>
                <a:lnTo>
                  <a:pt x="487" y="521"/>
                </a:lnTo>
                <a:lnTo>
                  <a:pt x="497" y="521"/>
                </a:lnTo>
                <a:lnTo>
                  <a:pt x="497" y="540"/>
                </a:lnTo>
                <a:lnTo>
                  <a:pt x="506" y="547"/>
                </a:lnTo>
                <a:lnTo>
                  <a:pt x="516" y="540"/>
                </a:lnTo>
                <a:lnTo>
                  <a:pt x="523" y="540"/>
                </a:lnTo>
                <a:lnTo>
                  <a:pt x="523" y="530"/>
                </a:lnTo>
                <a:lnTo>
                  <a:pt x="532" y="540"/>
                </a:lnTo>
                <a:lnTo>
                  <a:pt x="549" y="540"/>
                </a:lnTo>
                <a:lnTo>
                  <a:pt x="558" y="540"/>
                </a:lnTo>
                <a:lnTo>
                  <a:pt x="575" y="530"/>
                </a:lnTo>
                <a:lnTo>
                  <a:pt x="591" y="530"/>
                </a:lnTo>
                <a:lnTo>
                  <a:pt x="601" y="521"/>
                </a:lnTo>
                <a:lnTo>
                  <a:pt x="608" y="511"/>
                </a:lnTo>
                <a:lnTo>
                  <a:pt x="617" y="521"/>
                </a:lnTo>
                <a:lnTo>
                  <a:pt x="627" y="521"/>
                </a:lnTo>
                <a:lnTo>
                  <a:pt x="634" y="521"/>
                </a:lnTo>
                <a:lnTo>
                  <a:pt x="643" y="511"/>
                </a:lnTo>
                <a:lnTo>
                  <a:pt x="653" y="504"/>
                </a:lnTo>
                <a:lnTo>
                  <a:pt x="669" y="495"/>
                </a:lnTo>
                <a:lnTo>
                  <a:pt x="653" y="4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1" name="Freeform 483">
            <a:extLst>
              <a:ext uri="{FF2B5EF4-FFF2-40B4-BE49-F238E27FC236}">
                <a16:creationId xmlns:a16="http://schemas.microsoft.com/office/drawing/2014/main" id="{0CE99873-8B70-480B-9E71-C6AA788BF89A}"/>
              </a:ext>
            </a:extLst>
          </p:cNvPr>
          <p:cNvSpPr>
            <a:spLocks/>
          </p:cNvSpPr>
          <p:nvPr/>
        </p:nvSpPr>
        <p:spPr bwMode="auto">
          <a:xfrm>
            <a:off x="3034911" y="3041377"/>
            <a:ext cx="242245" cy="145169"/>
          </a:xfrm>
          <a:custGeom>
            <a:avLst/>
            <a:gdLst>
              <a:gd name="T0" fmla="*/ 0 w 272"/>
              <a:gd name="T1" fmla="*/ 78 h 163"/>
              <a:gd name="T2" fmla="*/ 16 w 272"/>
              <a:gd name="T3" fmla="*/ 59 h 163"/>
              <a:gd name="T4" fmla="*/ 42 w 272"/>
              <a:gd name="T5" fmla="*/ 52 h 163"/>
              <a:gd name="T6" fmla="*/ 59 w 272"/>
              <a:gd name="T7" fmla="*/ 33 h 163"/>
              <a:gd name="T8" fmla="*/ 68 w 272"/>
              <a:gd name="T9" fmla="*/ 18 h 163"/>
              <a:gd name="T10" fmla="*/ 75 w 272"/>
              <a:gd name="T11" fmla="*/ 0 h 163"/>
              <a:gd name="T12" fmla="*/ 85 w 272"/>
              <a:gd name="T13" fmla="*/ 9 h 163"/>
              <a:gd name="T14" fmla="*/ 92 w 272"/>
              <a:gd name="T15" fmla="*/ 26 h 163"/>
              <a:gd name="T16" fmla="*/ 108 w 272"/>
              <a:gd name="T17" fmla="*/ 0 h 163"/>
              <a:gd name="T18" fmla="*/ 127 w 272"/>
              <a:gd name="T19" fmla="*/ 18 h 163"/>
              <a:gd name="T20" fmla="*/ 127 w 272"/>
              <a:gd name="T21" fmla="*/ 33 h 163"/>
              <a:gd name="T22" fmla="*/ 144 w 272"/>
              <a:gd name="T23" fmla="*/ 33 h 163"/>
              <a:gd name="T24" fmla="*/ 151 w 272"/>
              <a:gd name="T25" fmla="*/ 52 h 163"/>
              <a:gd name="T26" fmla="*/ 179 w 272"/>
              <a:gd name="T27" fmla="*/ 52 h 163"/>
              <a:gd name="T28" fmla="*/ 212 w 272"/>
              <a:gd name="T29" fmla="*/ 59 h 163"/>
              <a:gd name="T30" fmla="*/ 229 w 272"/>
              <a:gd name="T31" fmla="*/ 42 h 163"/>
              <a:gd name="T32" fmla="*/ 265 w 272"/>
              <a:gd name="T33" fmla="*/ 33 h 163"/>
              <a:gd name="T34" fmla="*/ 272 w 272"/>
              <a:gd name="T35" fmla="*/ 42 h 163"/>
              <a:gd name="T36" fmla="*/ 265 w 272"/>
              <a:gd name="T37" fmla="*/ 52 h 163"/>
              <a:gd name="T38" fmla="*/ 272 w 272"/>
              <a:gd name="T39" fmla="*/ 68 h 163"/>
              <a:gd name="T40" fmla="*/ 239 w 272"/>
              <a:gd name="T41" fmla="*/ 78 h 163"/>
              <a:gd name="T42" fmla="*/ 222 w 272"/>
              <a:gd name="T43" fmla="*/ 68 h 163"/>
              <a:gd name="T44" fmla="*/ 186 w 272"/>
              <a:gd name="T45" fmla="*/ 85 h 163"/>
              <a:gd name="T46" fmla="*/ 179 w 272"/>
              <a:gd name="T47" fmla="*/ 120 h 163"/>
              <a:gd name="T48" fmla="*/ 170 w 272"/>
              <a:gd name="T49" fmla="*/ 101 h 163"/>
              <a:gd name="T50" fmla="*/ 144 w 272"/>
              <a:gd name="T51" fmla="*/ 120 h 163"/>
              <a:gd name="T52" fmla="*/ 127 w 272"/>
              <a:gd name="T53" fmla="*/ 153 h 163"/>
              <a:gd name="T54" fmla="*/ 92 w 272"/>
              <a:gd name="T55" fmla="*/ 153 h 163"/>
              <a:gd name="T56" fmla="*/ 68 w 272"/>
              <a:gd name="T57" fmla="*/ 146 h 163"/>
              <a:gd name="T58" fmla="*/ 68 w 272"/>
              <a:gd name="T59" fmla="*/ 120 h 163"/>
              <a:gd name="T60" fmla="*/ 68 w 272"/>
              <a:gd name="T61" fmla="*/ 94 h 163"/>
              <a:gd name="T62" fmla="*/ 59 w 272"/>
              <a:gd name="T63" fmla="*/ 94 h 163"/>
              <a:gd name="T64" fmla="*/ 33 w 272"/>
              <a:gd name="T65" fmla="*/ 78 h 163"/>
              <a:gd name="T66" fmla="*/ 16 w 272"/>
              <a:gd name="T67" fmla="*/ 7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72" h="163">
                <a:moveTo>
                  <a:pt x="0" y="85"/>
                </a:moveTo>
                <a:lnTo>
                  <a:pt x="0" y="78"/>
                </a:lnTo>
                <a:lnTo>
                  <a:pt x="16" y="68"/>
                </a:lnTo>
                <a:lnTo>
                  <a:pt x="16" y="59"/>
                </a:lnTo>
                <a:lnTo>
                  <a:pt x="23" y="52"/>
                </a:lnTo>
                <a:lnTo>
                  <a:pt x="42" y="52"/>
                </a:lnTo>
                <a:lnTo>
                  <a:pt x="42" y="42"/>
                </a:lnTo>
                <a:lnTo>
                  <a:pt x="59" y="33"/>
                </a:lnTo>
                <a:lnTo>
                  <a:pt x="68" y="26"/>
                </a:lnTo>
                <a:lnTo>
                  <a:pt x="68" y="18"/>
                </a:lnTo>
                <a:lnTo>
                  <a:pt x="68" y="0"/>
                </a:lnTo>
                <a:lnTo>
                  <a:pt x="75" y="0"/>
                </a:lnTo>
                <a:lnTo>
                  <a:pt x="75" y="9"/>
                </a:lnTo>
                <a:lnTo>
                  <a:pt x="85" y="9"/>
                </a:lnTo>
                <a:lnTo>
                  <a:pt x="92" y="18"/>
                </a:lnTo>
                <a:lnTo>
                  <a:pt x="92" y="26"/>
                </a:lnTo>
                <a:lnTo>
                  <a:pt x="101" y="18"/>
                </a:lnTo>
                <a:lnTo>
                  <a:pt x="108" y="0"/>
                </a:lnTo>
                <a:lnTo>
                  <a:pt x="118" y="9"/>
                </a:lnTo>
                <a:lnTo>
                  <a:pt x="127" y="18"/>
                </a:lnTo>
                <a:lnTo>
                  <a:pt x="127" y="26"/>
                </a:lnTo>
                <a:lnTo>
                  <a:pt x="127" y="33"/>
                </a:lnTo>
                <a:lnTo>
                  <a:pt x="134" y="33"/>
                </a:lnTo>
                <a:lnTo>
                  <a:pt x="144" y="33"/>
                </a:lnTo>
                <a:lnTo>
                  <a:pt x="144" y="42"/>
                </a:lnTo>
                <a:lnTo>
                  <a:pt x="151" y="52"/>
                </a:lnTo>
                <a:lnTo>
                  <a:pt x="170" y="42"/>
                </a:lnTo>
                <a:lnTo>
                  <a:pt x="179" y="52"/>
                </a:lnTo>
                <a:lnTo>
                  <a:pt x="179" y="59"/>
                </a:lnTo>
                <a:lnTo>
                  <a:pt x="212" y="59"/>
                </a:lnTo>
                <a:lnTo>
                  <a:pt x="222" y="52"/>
                </a:lnTo>
                <a:lnTo>
                  <a:pt x="229" y="42"/>
                </a:lnTo>
                <a:lnTo>
                  <a:pt x="246" y="33"/>
                </a:lnTo>
                <a:lnTo>
                  <a:pt x="265" y="33"/>
                </a:lnTo>
                <a:lnTo>
                  <a:pt x="272" y="33"/>
                </a:lnTo>
                <a:lnTo>
                  <a:pt x="272" y="42"/>
                </a:lnTo>
                <a:lnTo>
                  <a:pt x="265" y="42"/>
                </a:lnTo>
                <a:lnTo>
                  <a:pt x="265" y="52"/>
                </a:lnTo>
                <a:lnTo>
                  <a:pt x="272" y="59"/>
                </a:lnTo>
                <a:lnTo>
                  <a:pt x="272" y="68"/>
                </a:lnTo>
                <a:lnTo>
                  <a:pt x="255" y="78"/>
                </a:lnTo>
                <a:lnTo>
                  <a:pt x="239" y="78"/>
                </a:lnTo>
                <a:lnTo>
                  <a:pt x="222" y="78"/>
                </a:lnTo>
                <a:lnTo>
                  <a:pt x="222" y="68"/>
                </a:lnTo>
                <a:lnTo>
                  <a:pt x="203" y="68"/>
                </a:lnTo>
                <a:lnTo>
                  <a:pt x="186" y="85"/>
                </a:lnTo>
                <a:lnTo>
                  <a:pt x="186" y="94"/>
                </a:lnTo>
                <a:lnTo>
                  <a:pt x="179" y="120"/>
                </a:lnTo>
                <a:lnTo>
                  <a:pt x="170" y="111"/>
                </a:lnTo>
                <a:lnTo>
                  <a:pt x="170" y="101"/>
                </a:lnTo>
                <a:lnTo>
                  <a:pt x="151" y="111"/>
                </a:lnTo>
                <a:lnTo>
                  <a:pt x="144" y="120"/>
                </a:lnTo>
                <a:lnTo>
                  <a:pt x="134" y="127"/>
                </a:lnTo>
                <a:lnTo>
                  <a:pt x="127" y="153"/>
                </a:lnTo>
                <a:lnTo>
                  <a:pt x="101" y="163"/>
                </a:lnTo>
                <a:lnTo>
                  <a:pt x="92" y="153"/>
                </a:lnTo>
                <a:lnTo>
                  <a:pt x="68" y="153"/>
                </a:lnTo>
                <a:lnTo>
                  <a:pt x="68" y="146"/>
                </a:lnTo>
                <a:lnTo>
                  <a:pt x="75" y="137"/>
                </a:lnTo>
                <a:lnTo>
                  <a:pt x="68" y="120"/>
                </a:lnTo>
                <a:lnTo>
                  <a:pt x="75" y="111"/>
                </a:lnTo>
                <a:lnTo>
                  <a:pt x="68" y="94"/>
                </a:lnTo>
                <a:lnTo>
                  <a:pt x="68" y="85"/>
                </a:lnTo>
                <a:lnTo>
                  <a:pt x="59" y="94"/>
                </a:lnTo>
                <a:lnTo>
                  <a:pt x="42" y="85"/>
                </a:lnTo>
                <a:lnTo>
                  <a:pt x="33" y="78"/>
                </a:lnTo>
                <a:lnTo>
                  <a:pt x="23" y="78"/>
                </a:lnTo>
                <a:lnTo>
                  <a:pt x="16" y="78"/>
                </a:lnTo>
                <a:lnTo>
                  <a:pt x="0" y="8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2" name="Freeform 487">
            <a:extLst>
              <a:ext uri="{FF2B5EF4-FFF2-40B4-BE49-F238E27FC236}">
                <a16:creationId xmlns:a16="http://schemas.microsoft.com/office/drawing/2014/main" id="{E6EDFE7B-3272-49D9-8AC1-3F3D30C6280A}"/>
              </a:ext>
            </a:extLst>
          </p:cNvPr>
          <p:cNvSpPr>
            <a:spLocks/>
          </p:cNvSpPr>
          <p:nvPr/>
        </p:nvSpPr>
        <p:spPr bwMode="auto">
          <a:xfrm>
            <a:off x="2533504" y="830005"/>
            <a:ext cx="1882739" cy="2385931"/>
          </a:xfrm>
          <a:custGeom>
            <a:avLst/>
            <a:gdLst>
              <a:gd name="T0" fmla="*/ 170 w 2114"/>
              <a:gd name="T1" fmla="*/ 1595 h 2679"/>
              <a:gd name="T2" fmla="*/ 314 w 2114"/>
              <a:gd name="T3" fmla="*/ 1647 h 2679"/>
              <a:gd name="T4" fmla="*/ 409 w 2114"/>
              <a:gd name="T5" fmla="*/ 1791 h 2679"/>
              <a:gd name="T6" fmla="*/ 399 w 2114"/>
              <a:gd name="T7" fmla="*/ 1886 h 2679"/>
              <a:gd name="T8" fmla="*/ 544 w 2114"/>
              <a:gd name="T9" fmla="*/ 1929 h 2679"/>
              <a:gd name="T10" fmla="*/ 664 w 2114"/>
              <a:gd name="T11" fmla="*/ 2030 h 2679"/>
              <a:gd name="T12" fmla="*/ 818 w 2114"/>
              <a:gd name="T13" fmla="*/ 2083 h 2679"/>
              <a:gd name="T14" fmla="*/ 955 w 2114"/>
              <a:gd name="T15" fmla="*/ 2092 h 2679"/>
              <a:gd name="T16" fmla="*/ 988 w 2114"/>
              <a:gd name="T17" fmla="*/ 2201 h 2679"/>
              <a:gd name="T18" fmla="*/ 955 w 2114"/>
              <a:gd name="T19" fmla="*/ 2314 h 2679"/>
              <a:gd name="T20" fmla="*/ 894 w 2114"/>
              <a:gd name="T21" fmla="*/ 2407 h 2679"/>
              <a:gd name="T22" fmla="*/ 894 w 2114"/>
              <a:gd name="T23" fmla="*/ 2483 h 2679"/>
              <a:gd name="T24" fmla="*/ 998 w 2114"/>
              <a:gd name="T25" fmla="*/ 2577 h 2679"/>
              <a:gd name="T26" fmla="*/ 1185 w 2114"/>
              <a:gd name="T27" fmla="*/ 2620 h 2679"/>
              <a:gd name="T28" fmla="*/ 1398 w 2114"/>
              <a:gd name="T29" fmla="*/ 2646 h 2679"/>
              <a:gd name="T30" fmla="*/ 1525 w 2114"/>
              <a:gd name="T31" fmla="*/ 2646 h 2679"/>
              <a:gd name="T32" fmla="*/ 1722 w 2114"/>
              <a:gd name="T33" fmla="*/ 2646 h 2679"/>
              <a:gd name="T34" fmla="*/ 1587 w 2114"/>
              <a:gd name="T35" fmla="*/ 2457 h 2679"/>
              <a:gd name="T36" fmla="*/ 1535 w 2114"/>
              <a:gd name="T37" fmla="*/ 2296 h 2679"/>
              <a:gd name="T38" fmla="*/ 1577 w 2114"/>
              <a:gd name="T39" fmla="*/ 2168 h 2679"/>
              <a:gd name="T40" fmla="*/ 1407 w 2114"/>
              <a:gd name="T41" fmla="*/ 2073 h 2679"/>
              <a:gd name="T42" fmla="*/ 1398 w 2114"/>
              <a:gd name="T43" fmla="*/ 1869 h 2679"/>
              <a:gd name="T44" fmla="*/ 1483 w 2114"/>
              <a:gd name="T45" fmla="*/ 1775 h 2679"/>
              <a:gd name="T46" fmla="*/ 1630 w 2114"/>
              <a:gd name="T47" fmla="*/ 1683 h 2679"/>
              <a:gd name="T48" fmla="*/ 1757 w 2114"/>
              <a:gd name="T49" fmla="*/ 1656 h 2679"/>
              <a:gd name="T50" fmla="*/ 1911 w 2114"/>
              <a:gd name="T51" fmla="*/ 1604 h 2679"/>
              <a:gd name="T52" fmla="*/ 2055 w 2114"/>
              <a:gd name="T53" fmla="*/ 1529 h 2679"/>
              <a:gd name="T54" fmla="*/ 1970 w 2114"/>
              <a:gd name="T55" fmla="*/ 1417 h 2679"/>
              <a:gd name="T56" fmla="*/ 1850 w 2114"/>
              <a:gd name="T57" fmla="*/ 1273 h 2679"/>
              <a:gd name="T58" fmla="*/ 1731 w 2114"/>
              <a:gd name="T59" fmla="*/ 1238 h 2679"/>
              <a:gd name="T60" fmla="*/ 1698 w 2114"/>
              <a:gd name="T61" fmla="*/ 1169 h 2679"/>
              <a:gd name="T62" fmla="*/ 1620 w 2114"/>
              <a:gd name="T63" fmla="*/ 991 h 2679"/>
              <a:gd name="T64" fmla="*/ 1518 w 2114"/>
              <a:gd name="T65" fmla="*/ 785 h 2679"/>
              <a:gd name="T66" fmla="*/ 1374 w 2114"/>
              <a:gd name="T67" fmla="*/ 572 h 2679"/>
              <a:gd name="T68" fmla="*/ 1322 w 2114"/>
              <a:gd name="T69" fmla="*/ 402 h 2679"/>
              <a:gd name="T70" fmla="*/ 1329 w 2114"/>
              <a:gd name="T71" fmla="*/ 78 h 2679"/>
              <a:gd name="T72" fmla="*/ 1201 w 2114"/>
              <a:gd name="T73" fmla="*/ 45 h 2679"/>
              <a:gd name="T74" fmla="*/ 1074 w 2114"/>
              <a:gd name="T75" fmla="*/ 85 h 2679"/>
              <a:gd name="T76" fmla="*/ 1024 w 2114"/>
              <a:gd name="T77" fmla="*/ 153 h 2679"/>
              <a:gd name="T78" fmla="*/ 913 w 2114"/>
              <a:gd name="T79" fmla="*/ 300 h 2679"/>
              <a:gd name="T80" fmla="*/ 870 w 2114"/>
              <a:gd name="T81" fmla="*/ 265 h 2679"/>
              <a:gd name="T82" fmla="*/ 792 w 2114"/>
              <a:gd name="T83" fmla="*/ 402 h 2679"/>
              <a:gd name="T84" fmla="*/ 664 w 2114"/>
              <a:gd name="T85" fmla="*/ 435 h 2679"/>
              <a:gd name="T86" fmla="*/ 586 w 2114"/>
              <a:gd name="T87" fmla="*/ 376 h 2679"/>
              <a:gd name="T88" fmla="*/ 671 w 2114"/>
              <a:gd name="T89" fmla="*/ 513 h 2679"/>
              <a:gd name="T90" fmla="*/ 631 w 2114"/>
              <a:gd name="T91" fmla="*/ 572 h 2679"/>
              <a:gd name="T92" fmla="*/ 579 w 2114"/>
              <a:gd name="T93" fmla="*/ 726 h 2679"/>
              <a:gd name="T94" fmla="*/ 553 w 2114"/>
              <a:gd name="T95" fmla="*/ 778 h 2679"/>
              <a:gd name="T96" fmla="*/ 484 w 2114"/>
              <a:gd name="T97" fmla="*/ 795 h 2679"/>
              <a:gd name="T98" fmla="*/ 357 w 2114"/>
              <a:gd name="T99" fmla="*/ 804 h 2679"/>
              <a:gd name="T100" fmla="*/ 279 w 2114"/>
              <a:gd name="T101" fmla="*/ 674 h 2679"/>
              <a:gd name="T102" fmla="*/ 229 w 2114"/>
              <a:gd name="T103" fmla="*/ 598 h 2679"/>
              <a:gd name="T104" fmla="*/ 409 w 2114"/>
              <a:gd name="T105" fmla="*/ 632 h 2679"/>
              <a:gd name="T106" fmla="*/ 544 w 2114"/>
              <a:gd name="T107" fmla="*/ 582 h 2679"/>
              <a:gd name="T108" fmla="*/ 435 w 2114"/>
              <a:gd name="T109" fmla="*/ 452 h 2679"/>
              <a:gd name="T110" fmla="*/ 186 w 2114"/>
              <a:gd name="T111" fmla="*/ 402 h 2679"/>
              <a:gd name="T112" fmla="*/ 18 w 2114"/>
              <a:gd name="T113" fmla="*/ 456 h 2679"/>
              <a:gd name="T114" fmla="*/ 108 w 2114"/>
              <a:gd name="T115" fmla="*/ 766 h 2679"/>
              <a:gd name="T116" fmla="*/ 229 w 2114"/>
              <a:gd name="T117" fmla="*/ 989 h 2679"/>
              <a:gd name="T118" fmla="*/ 170 w 2114"/>
              <a:gd name="T119" fmla="*/ 1228 h 2679"/>
              <a:gd name="T120" fmla="*/ 170 w 2114"/>
              <a:gd name="T121" fmla="*/ 1264 h 2679"/>
              <a:gd name="T122" fmla="*/ 134 w 2114"/>
              <a:gd name="T123" fmla="*/ 1382 h 2679"/>
              <a:gd name="T124" fmla="*/ 127 w 2114"/>
              <a:gd name="T125" fmla="*/ 1493 h 26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14" h="2679">
                <a:moveTo>
                  <a:pt x="127" y="1493"/>
                </a:moveTo>
                <a:lnTo>
                  <a:pt x="127" y="1503"/>
                </a:lnTo>
                <a:lnTo>
                  <a:pt x="134" y="1503"/>
                </a:lnTo>
                <a:lnTo>
                  <a:pt x="134" y="1510"/>
                </a:lnTo>
                <a:lnTo>
                  <a:pt x="144" y="1503"/>
                </a:lnTo>
                <a:lnTo>
                  <a:pt x="153" y="1503"/>
                </a:lnTo>
                <a:lnTo>
                  <a:pt x="153" y="1519"/>
                </a:lnTo>
                <a:lnTo>
                  <a:pt x="153" y="1538"/>
                </a:lnTo>
                <a:lnTo>
                  <a:pt x="134" y="1538"/>
                </a:lnTo>
                <a:lnTo>
                  <a:pt x="144" y="1555"/>
                </a:lnTo>
                <a:lnTo>
                  <a:pt x="153" y="1555"/>
                </a:lnTo>
                <a:lnTo>
                  <a:pt x="160" y="1555"/>
                </a:lnTo>
                <a:lnTo>
                  <a:pt x="160" y="1562"/>
                </a:lnTo>
                <a:lnTo>
                  <a:pt x="170" y="1578"/>
                </a:lnTo>
                <a:lnTo>
                  <a:pt x="170" y="1595"/>
                </a:lnTo>
                <a:lnTo>
                  <a:pt x="177" y="1614"/>
                </a:lnTo>
                <a:lnTo>
                  <a:pt x="186" y="1614"/>
                </a:lnTo>
                <a:lnTo>
                  <a:pt x="196" y="1614"/>
                </a:lnTo>
                <a:lnTo>
                  <a:pt x="196" y="1621"/>
                </a:lnTo>
                <a:lnTo>
                  <a:pt x="212" y="1621"/>
                </a:lnTo>
                <a:lnTo>
                  <a:pt x="229" y="1621"/>
                </a:lnTo>
                <a:lnTo>
                  <a:pt x="246" y="1621"/>
                </a:lnTo>
                <a:lnTo>
                  <a:pt x="255" y="1630"/>
                </a:lnTo>
                <a:lnTo>
                  <a:pt x="255" y="1638"/>
                </a:lnTo>
                <a:lnTo>
                  <a:pt x="262" y="1638"/>
                </a:lnTo>
                <a:lnTo>
                  <a:pt x="279" y="1630"/>
                </a:lnTo>
                <a:lnTo>
                  <a:pt x="279" y="1621"/>
                </a:lnTo>
                <a:lnTo>
                  <a:pt x="288" y="1621"/>
                </a:lnTo>
                <a:lnTo>
                  <a:pt x="305" y="1630"/>
                </a:lnTo>
                <a:lnTo>
                  <a:pt x="314" y="1647"/>
                </a:lnTo>
                <a:lnTo>
                  <a:pt x="331" y="1647"/>
                </a:lnTo>
                <a:lnTo>
                  <a:pt x="331" y="1656"/>
                </a:lnTo>
                <a:lnTo>
                  <a:pt x="324" y="1664"/>
                </a:lnTo>
                <a:lnTo>
                  <a:pt x="324" y="1673"/>
                </a:lnTo>
                <a:lnTo>
                  <a:pt x="340" y="1699"/>
                </a:lnTo>
                <a:lnTo>
                  <a:pt x="350" y="1725"/>
                </a:lnTo>
                <a:lnTo>
                  <a:pt x="331" y="1732"/>
                </a:lnTo>
                <a:lnTo>
                  <a:pt x="357" y="1732"/>
                </a:lnTo>
                <a:lnTo>
                  <a:pt x="357" y="1742"/>
                </a:lnTo>
                <a:lnTo>
                  <a:pt x="357" y="1751"/>
                </a:lnTo>
                <a:lnTo>
                  <a:pt x="383" y="1758"/>
                </a:lnTo>
                <a:lnTo>
                  <a:pt x="390" y="1758"/>
                </a:lnTo>
                <a:lnTo>
                  <a:pt x="409" y="1765"/>
                </a:lnTo>
                <a:lnTo>
                  <a:pt x="409" y="1784"/>
                </a:lnTo>
                <a:lnTo>
                  <a:pt x="409" y="1791"/>
                </a:lnTo>
                <a:lnTo>
                  <a:pt x="425" y="1791"/>
                </a:lnTo>
                <a:lnTo>
                  <a:pt x="435" y="1791"/>
                </a:lnTo>
                <a:lnTo>
                  <a:pt x="449" y="1791"/>
                </a:lnTo>
                <a:lnTo>
                  <a:pt x="449" y="1810"/>
                </a:lnTo>
                <a:lnTo>
                  <a:pt x="468" y="1810"/>
                </a:lnTo>
                <a:lnTo>
                  <a:pt x="477" y="1827"/>
                </a:lnTo>
                <a:lnTo>
                  <a:pt x="468" y="1834"/>
                </a:lnTo>
                <a:lnTo>
                  <a:pt x="458" y="1843"/>
                </a:lnTo>
                <a:lnTo>
                  <a:pt x="449" y="1853"/>
                </a:lnTo>
                <a:lnTo>
                  <a:pt x="435" y="1860"/>
                </a:lnTo>
                <a:lnTo>
                  <a:pt x="425" y="1869"/>
                </a:lnTo>
                <a:lnTo>
                  <a:pt x="409" y="1860"/>
                </a:lnTo>
                <a:lnTo>
                  <a:pt x="399" y="1860"/>
                </a:lnTo>
                <a:lnTo>
                  <a:pt x="399" y="1869"/>
                </a:lnTo>
                <a:lnTo>
                  <a:pt x="399" y="1886"/>
                </a:lnTo>
                <a:lnTo>
                  <a:pt x="399" y="1896"/>
                </a:lnTo>
                <a:lnTo>
                  <a:pt x="409" y="1912"/>
                </a:lnTo>
                <a:lnTo>
                  <a:pt x="416" y="1929"/>
                </a:lnTo>
                <a:lnTo>
                  <a:pt x="416" y="1938"/>
                </a:lnTo>
                <a:lnTo>
                  <a:pt x="425" y="1945"/>
                </a:lnTo>
                <a:lnTo>
                  <a:pt x="442" y="1952"/>
                </a:lnTo>
                <a:lnTo>
                  <a:pt x="442" y="1945"/>
                </a:lnTo>
                <a:lnTo>
                  <a:pt x="458" y="1938"/>
                </a:lnTo>
                <a:lnTo>
                  <a:pt x="468" y="1945"/>
                </a:lnTo>
                <a:lnTo>
                  <a:pt x="484" y="1938"/>
                </a:lnTo>
                <a:lnTo>
                  <a:pt x="494" y="1938"/>
                </a:lnTo>
                <a:lnTo>
                  <a:pt x="503" y="1929"/>
                </a:lnTo>
                <a:lnTo>
                  <a:pt x="511" y="1929"/>
                </a:lnTo>
                <a:lnTo>
                  <a:pt x="527" y="1938"/>
                </a:lnTo>
                <a:lnTo>
                  <a:pt x="544" y="1929"/>
                </a:lnTo>
                <a:lnTo>
                  <a:pt x="553" y="1929"/>
                </a:lnTo>
                <a:lnTo>
                  <a:pt x="563" y="1938"/>
                </a:lnTo>
                <a:lnTo>
                  <a:pt x="572" y="1952"/>
                </a:lnTo>
                <a:lnTo>
                  <a:pt x="579" y="1962"/>
                </a:lnTo>
                <a:lnTo>
                  <a:pt x="579" y="1978"/>
                </a:lnTo>
                <a:lnTo>
                  <a:pt x="579" y="1997"/>
                </a:lnTo>
                <a:lnTo>
                  <a:pt x="579" y="2007"/>
                </a:lnTo>
                <a:lnTo>
                  <a:pt x="596" y="2007"/>
                </a:lnTo>
                <a:lnTo>
                  <a:pt x="622" y="2007"/>
                </a:lnTo>
                <a:lnTo>
                  <a:pt x="631" y="1997"/>
                </a:lnTo>
                <a:lnTo>
                  <a:pt x="638" y="1997"/>
                </a:lnTo>
                <a:lnTo>
                  <a:pt x="638" y="2007"/>
                </a:lnTo>
                <a:lnTo>
                  <a:pt x="648" y="2023"/>
                </a:lnTo>
                <a:lnTo>
                  <a:pt x="664" y="2023"/>
                </a:lnTo>
                <a:lnTo>
                  <a:pt x="664" y="2030"/>
                </a:lnTo>
                <a:lnTo>
                  <a:pt x="671" y="2056"/>
                </a:lnTo>
                <a:lnTo>
                  <a:pt x="671" y="2066"/>
                </a:lnTo>
                <a:lnTo>
                  <a:pt x="681" y="2066"/>
                </a:lnTo>
                <a:lnTo>
                  <a:pt x="697" y="2066"/>
                </a:lnTo>
                <a:lnTo>
                  <a:pt x="707" y="2066"/>
                </a:lnTo>
                <a:lnTo>
                  <a:pt x="714" y="2073"/>
                </a:lnTo>
                <a:lnTo>
                  <a:pt x="723" y="2066"/>
                </a:lnTo>
                <a:lnTo>
                  <a:pt x="733" y="2073"/>
                </a:lnTo>
                <a:lnTo>
                  <a:pt x="742" y="2073"/>
                </a:lnTo>
                <a:lnTo>
                  <a:pt x="749" y="2066"/>
                </a:lnTo>
                <a:lnTo>
                  <a:pt x="766" y="2049"/>
                </a:lnTo>
                <a:lnTo>
                  <a:pt x="785" y="2049"/>
                </a:lnTo>
                <a:lnTo>
                  <a:pt x="785" y="2056"/>
                </a:lnTo>
                <a:lnTo>
                  <a:pt x="792" y="2066"/>
                </a:lnTo>
                <a:lnTo>
                  <a:pt x="818" y="2083"/>
                </a:lnTo>
                <a:lnTo>
                  <a:pt x="835" y="2073"/>
                </a:lnTo>
                <a:lnTo>
                  <a:pt x="835" y="2066"/>
                </a:lnTo>
                <a:lnTo>
                  <a:pt x="844" y="2073"/>
                </a:lnTo>
                <a:lnTo>
                  <a:pt x="851" y="2083"/>
                </a:lnTo>
                <a:lnTo>
                  <a:pt x="870" y="2073"/>
                </a:lnTo>
                <a:lnTo>
                  <a:pt x="870" y="2083"/>
                </a:lnTo>
                <a:lnTo>
                  <a:pt x="887" y="2083"/>
                </a:lnTo>
                <a:lnTo>
                  <a:pt x="887" y="2073"/>
                </a:lnTo>
                <a:lnTo>
                  <a:pt x="903" y="2073"/>
                </a:lnTo>
                <a:lnTo>
                  <a:pt x="913" y="2073"/>
                </a:lnTo>
                <a:lnTo>
                  <a:pt x="913" y="2083"/>
                </a:lnTo>
                <a:lnTo>
                  <a:pt x="920" y="2092"/>
                </a:lnTo>
                <a:lnTo>
                  <a:pt x="920" y="2083"/>
                </a:lnTo>
                <a:lnTo>
                  <a:pt x="936" y="2083"/>
                </a:lnTo>
                <a:lnTo>
                  <a:pt x="955" y="2092"/>
                </a:lnTo>
                <a:lnTo>
                  <a:pt x="972" y="2092"/>
                </a:lnTo>
                <a:lnTo>
                  <a:pt x="979" y="2083"/>
                </a:lnTo>
                <a:lnTo>
                  <a:pt x="988" y="2083"/>
                </a:lnTo>
                <a:lnTo>
                  <a:pt x="988" y="2109"/>
                </a:lnTo>
                <a:lnTo>
                  <a:pt x="979" y="2116"/>
                </a:lnTo>
                <a:lnTo>
                  <a:pt x="962" y="2125"/>
                </a:lnTo>
                <a:lnTo>
                  <a:pt x="955" y="2135"/>
                </a:lnTo>
                <a:lnTo>
                  <a:pt x="962" y="2142"/>
                </a:lnTo>
                <a:lnTo>
                  <a:pt x="979" y="2142"/>
                </a:lnTo>
                <a:lnTo>
                  <a:pt x="979" y="2149"/>
                </a:lnTo>
                <a:lnTo>
                  <a:pt x="972" y="2158"/>
                </a:lnTo>
                <a:lnTo>
                  <a:pt x="962" y="2168"/>
                </a:lnTo>
                <a:lnTo>
                  <a:pt x="962" y="2175"/>
                </a:lnTo>
                <a:lnTo>
                  <a:pt x="972" y="2175"/>
                </a:lnTo>
                <a:lnTo>
                  <a:pt x="988" y="2201"/>
                </a:lnTo>
                <a:lnTo>
                  <a:pt x="988" y="2227"/>
                </a:lnTo>
                <a:lnTo>
                  <a:pt x="979" y="2253"/>
                </a:lnTo>
                <a:lnTo>
                  <a:pt x="962" y="2253"/>
                </a:lnTo>
                <a:lnTo>
                  <a:pt x="936" y="2253"/>
                </a:lnTo>
                <a:lnTo>
                  <a:pt x="929" y="2260"/>
                </a:lnTo>
                <a:lnTo>
                  <a:pt x="920" y="2286"/>
                </a:lnTo>
                <a:lnTo>
                  <a:pt x="894" y="2296"/>
                </a:lnTo>
                <a:lnTo>
                  <a:pt x="894" y="2338"/>
                </a:lnTo>
                <a:lnTo>
                  <a:pt x="903" y="2329"/>
                </a:lnTo>
                <a:lnTo>
                  <a:pt x="913" y="2329"/>
                </a:lnTo>
                <a:lnTo>
                  <a:pt x="920" y="2322"/>
                </a:lnTo>
                <a:lnTo>
                  <a:pt x="920" y="2338"/>
                </a:lnTo>
                <a:lnTo>
                  <a:pt x="929" y="2338"/>
                </a:lnTo>
                <a:lnTo>
                  <a:pt x="946" y="2322"/>
                </a:lnTo>
                <a:lnTo>
                  <a:pt x="955" y="2314"/>
                </a:lnTo>
                <a:lnTo>
                  <a:pt x="972" y="2314"/>
                </a:lnTo>
                <a:lnTo>
                  <a:pt x="972" y="2329"/>
                </a:lnTo>
                <a:lnTo>
                  <a:pt x="972" y="2338"/>
                </a:lnTo>
                <a:lnTo>
                  <a:pt x="955" y="2345"/>
                </a:lnTo>
                <a:lnTo>
                  <a:pt x="936" y="2355"/>
                </a:lnTo>
                <a:lnTo>
                  <a:pt x="929" y="2364"/>
                </a:lnTo>
                <a:lnTo>
                  <a:pt x="936" y="2371"/>
                </a:lnTo>
                <a:lnTo>
                  <a:pt x="946" y="2381"/>
                </a:lnTo>
                <a:lnTo>
                  <a:pt x="929" y="2388"/>
                </a:lnTo>
                <a:lnTo>
                  <a:pt x="913" y="2381"/>
                </a:lnTo>
                <a:lnTo>
                  <a:pt x="903" y="2381"/>
                </a:lnTo>
                <a:lnTo>
                  <a:pt x="894" y="2388"/>
                </a:lnTo>
                <a:lnTo>
                  <a:pt x="887" y="2388"/>
                </a:lnTo>
                <a:lnTo>
                  <a:pt x="887" y="2397"/>
                </a:lnTo>
                <a:lnTo>
                  <a:pt x="894" y="2407"/>
                </a:lnTo>
                <a:lnTo>
                  <a:pt x="920" y="2407"/>
                </a:lnTo>
                <a:lnTo>
                  <a:pt x="929" y="2414"/>
                </a:lnTo>
                <a:lnTo>
                  <a:pt x="929" y="2423"/>
                </a:lnTo>
                <a:lnTo>
                  <a:pt x="955" y="2433"/>
                </a:lnTo>
                <a:lnTo>
                  <a:pt x="946" y="2433"/>
                </a:lnTo>
                <a:lnTo>
                  <a:pt x="936" y="2440"/>
                </a:lnTo>
                <a:lnTo>
                  <a:pt x="929" y="2433"/>
                </a:lnTo>
                <a:lnTo>
                  <a:pt x="929" y="2449"/>
                </a:lnTo>
                <a:lnTo>
                  <a:pt x="936" y="2457"/>
                </a:lnTo>
                <a:lnTo>
                  <a:pt x="929" y="2466"/>
                </a:lnTo>
                <a:lnTo>
                  <a:pt x="920" y="2457"/>
                </a:lnTo>
                <a:lnTo>
                  <a:pt x="913" y="2449"/>
                </a:lnTo>
                <a:lnTo>
                  <a:pt x="903" y="2457"/>
                </a:lnTo>
                <a:lnTo>
                  <a:pt x="903" y="2475"/>
                </a:lnTo>
                <a:lnTo>
                  <a:pt x="894" y="2483"/>
                </a:lnTo>
                <a:lnTo>
                  <a:pt x="903" y="2492"/>
                </a:lnTo>
                <a:lnTo>
                  <a:pt x="903" y="2509"/>
                </a:lnTo>
                <a:lnTo>
                  <a:pt x="887" y="2509"/>
                </a:lnTo>
                <a:lnTo>
                  <a:pt x="877" y="2535"/>
                </a:lnTo>
                <a:lnTo>
                  <a:pt x="877" y="2542"/>
                </a:lnTo>
                <a:lnTo>
                  <a:pt x="894" y="2551"/>
                </a:lnTo>
                <a:lnTo>
                  <a:pt x="913" y="2561"/>
                </a:lnTo>
                <a:lnTo>
                  <a:pt x="920" y="2561"/>
                </a:lnTo>
                <a:lnTo>
                  <a:pt x="936" y="2561"/>
                </a:lnTo>
                <a:lnTo>
                  <a:pt x="946" y="2568"/>
                </a:lnTo>
                <a:lnTo>
                  <a:pt x="946" y="2577"/>
                </a:lnTo>
                <a:lnTo>
                  <a:pt x="962" y="2577"/>
                </a:lnTo>
                <a:lnTo>
                  <a:pt x="972" y="2568"/>
                </a:lnTo>
                <a:lnTo>
                  <a:pt x="979" y="2577"/>
                </a:lnTo>
                <a:lnTo>
                  <a:pt x="998" y="2577"/>
                </a:lnTo>
                <a:lnTo>
                  <a:pt x="998" y="2584"/>
                </a:lnTo>
                <a:lnTo>
                  <a:pt x="1014" y="2594"/>
                </a:lnTo>
                <a:lnTo>
                  <a:pt x="1031" y="2594"/>
                </a:lnTo>
                <a:lnTo>
                  <a:pt x="1040" y="2603"/>
                </a:lnTo>
                <a:lnTo>
                  <a:pt x="1048" y="2610"/>
                </a:lnTo>
                <a:lnTo>
                  <a:pt x="1064" y="2610"/>
                </a:lnTo>
                <a:lnTo>
                  <a:pt x="1090" y="2646"/>
                </a:lnTo>
                <a:lnTo>
                  <a:pt x="1100" y="2629"/>
                </a:lnTo>
                <a:lnTo>
                  <a:pt x="1107" y="2629"/>
                </a:lnTo>
                <a:lnTo>
                  <a:pt x="1126" y="2629"/>
                </a:lnTo>
                <a:lnTo>
                  <a:pt x="1133" y="2620"/>
                </a:lnTo>
                <a:lnTo>
                  <a:pt x="1142" y="2603"/>
                </a:lnTo>
                <a:lnTo>
                  <a:pt x="1159" y="2610"/>
                </a:lnTo>
                <a:lnTo>
                  <a:pt x="1175" y="2620"/>
                </a:lnTo>
                <a:lnTo>
                  <a:pt x="1185" y="2620"/>
                </a:lnTo>
                <a:lnTo>
                  <a:pt x="1220" y="2620"/>
                </a:lnTo>
                <a:lnTo>
                  <a:pt x="1227" y="2629"/>
                </a:lnTo>
                <a:lnTo>
                  <a:pt x="1237" y="2629"/>
                </a:lnTo>
                <a:lnTo>
                  <a:pt x="1253" y="2629"/>
                </a:lnTo>
                <a:lnTo>
                  <a:pt x="1270" y="2629"/>
                </a:lnTo>
                <a:lnTo>
                  <a:pt x="1296" y="2620"/>
                </a:lnTo>
                <a:lnTo>
                  <a:pt x="1303" y="2620"/>
                </a:lnTo>
                <a:lnTo>
                  <a:pt x="1312" y="2629"/>
                </a:lnTo>
                <a:lnTo>
                  <a:pt x="1339" y="2629"/>
                </a:lnTo>
                <a:lnTo>
                  <a:pt x="1355" y="2629"/>
                </a:lnTo>
                <a:lnTo>
                  <a:pt x="1365" y="2629"/>
                </a:lnTo>
                <a:lnTo>
                  <a:pt x="1374" y="2636"/>
                </a:lnTo>
                <a:lnTo>
                  <a:pt x="1365" y="2646"/>
                </a:lnTo>
                <a:lnTo>
                  <a:pt x="1381" y="2646"/>
                </a:lnTo>
                <a:lnTo>
                  <a:pt x="1398" y="2646"/>
                </a:lnTo>
                <a:lnTo>
                  <a:pt x="1407" y="2636"/>
                </a:lnTo>
                <a:lnTo>
                  <a:pt x="1424" y="2629"/>
                </a:lnTo>
                <a:lnTo>
                  <a:pt x="1440" y="2636"/>
                </a:lnTo>
                <a:lnTo>
                  <a:pt x="1450" y="2636"/>
                </a:lnTo>
                <a:lnTo>
                  <a:pt x="1459" y="2629"/>
                </a:lnTo>
                <a:lnTo>
                  <a:pt x="1459" y="2620"/>
                </a:lnTo>
                <a:lnTo>
                  <a:pt x="1466" y="2620"/>
                </a:lnTo>
                <a:lnTo>
                  <a:pt x="1473" y="2620"/>
                </a:lnTo>
                <a:lnTo>
                  <a:pt x="1473" y="2636"/>
                </a:lnTo>
                <a:lnTo>
                  <a:pt x="1492" y="2629"/>
                </a:lnTo>
                <a:lnTo>
                  <a:pt x="1492" y="2620"/>
                </a:lnTo>
                <a:lnTo>
                  <a:pt x="1509" y="2620"/>
                </a:lnTo>
                <a:lnTo>
                  <a:pt x="1525" y="2629"/>
                </a:lnTo>
                <a:lnTo>
                  <a:pt x="1525" y="2636"/>
                </a:lnTo>
                <a:lnTo>
                  <a:pt x="1525" y="2646"/>
                </a:lnTo>
                <a:lnTo>
                  <a:pt x="1535" y="2653"/>
                </a:lnTo>
                <a:lnTo>
                  <a:pt x="1551" y="2646"/>
                </a:lnTo>
                <a:lnTo>
                  <a:pt x="1561" y="2646"/>
                </a:lnTo>
                <a:lnTo>
                  <a:pt x="1587" y="2653"/>
                </a:lnTo>
                <a:lnTo>
                  <a:pt x="1611" y="2653"/>
                </a:lnTo>
                <a:lnTo>
                  <a:pt x="1620" y="2653"/>
                </a:lnTo>
                <a:lnTo>
                  <a:pt x="1637" y="2672"/>
                </a:lnTo>
                <a:lnTo>
                  <a:pt x="1656" y="2679"/>
                </a:lnTo>
                <a:lnTo>
                  <a:pt x="1672" y="2679"/>
                </a:lnTo>
                <a:lnTo>
                  <a:pt x="1679" y="2679"/>
                </a:lnTo>
                <a:lnTo>
                  <a:pt x="1698" y="2672"/>
                </a:lnTo>
                <a:lnTo>
                  <a:pt x="1705" y="2653"/>
                </a:lnTo>
                <a:lnTo>
                  <a:pt x="1698" y="2646"/>
                </a:lnTo>
                <a:lnTo>
                  <a:pt x="1715" y="2646"/>
                </a:lnTo>
                <a:lnTo>
                  <a:pt x="1722" y="2646"/>
                </a:lnTo>
                <a:lnTo>
                  <a:pt x="1722" y="2629"/>
                </a:lnTo>
                <a:lnTo>
                  <a:pt x="1731" y="2610"/>
                </a:lnTo>
                <a:lnTo>
                  <a:pt x="1722" y="2610"/>
                </a:lnTo>
                <a:lnTo>
                  <a:pt x="1705" y="2603"/>
                </a:lnTo>
                <a:lnTo>
                  <a:pt x="1689" y="2594"/>
                </a:lnTo>
                <a:lnTo>
                  <a:pt x="1679" y="2584"/>
                </a:lnTo>
                <a:lnTo>
                  <a:pt x="1656" y="2568"/>
                </a:lnTo>
                <a:lnTo>
                  <a:pt x="1637" y="2561"/>
                </a:lnTo>
                <a:lnTo>
                  <a:pt x="1620" y="2542"/>
                </a:lnTo>
                <a:lnTo>
                  <a:pt x="1620" y="2509"/>
                </a:lnTo>
                <a:lnTo>
                  <a:pt x="1611" y="2501"/>
                </a:lnTo>
                <a:lnTo>
                  <a:pt x="1601" y="2492"/>
                </a:lnTo>
                <a:lnTo>
                  <a:pt x="1601" y="2475"/>
                </a:lnTo>
                <a:lnTo>
                  <a:pt x="1594" y="2457"/>
                </a:lnTo>
                <a:lnTo>
                  <a:pt x="1587" y="2457"/>
                </a:lnTo>
                <a:lnTo>
                  <a:pt x="1587" y="2449"/>
                </a:lnTo>
                <a:lnTo>
                  <a:pt x="1568" y="2440"/>
                </a:lnTo>
                <a:lnTo>
                  <a:pt x="1544" y="2423"/>
                </a:lnTo>
                <a:lnTo>
                  <a:pt x="1544" y="2433"/>
                </a:lnTo>
                <a:lnTo>
                  <a:pt x="1535" y="2440"/>
                </a:lnTo>
                <a:lnTo>
                  <a:pt x="1525" y="2433"/>
                </a:lnTo>
                <a:lnTo>
                  <a:pt x="1509" y="2423"/>
                </a:lnTo>
                <a:lnTo>
                  <a:pt x="1518" y="2388"/>
                </a:lnTo>
                <a:lnTo>
                  <a:pt x="1518" y="2381"/>
                </a:lnTo>
                <a:lnTo>
                  <a:pt x="1525" y="2371"/>
                </a:lnTo>
                <a:lnTo>
                  <a:pt x="1525" y="2355"/>
                </a:lnTo>
                <a:lnTo>
                  <a:pt x="1535" y="2345"/>
                </a:lnTo>
                <a:lnTo>
                  <a:pt x="1525" y="2338"/>
                </a:lnTo>
                <a:lnTo>
                  <a:pt x="1525" y="2314"/>
                </a:lnTo>
                <a:lnTo>
                  <a:pt x="1535" y="2296"/>
                </a:lnTo>
                <a:lnTo>
                  <a:pt x="1535" y="2279"/>
                </a:lnTo>
                <a:lnTo>
                  <a:pt x="1544" y="2279"/>
                </a:lnTo>
                <a:lnTo>
                  <a:pt x="1551" y="2286"/>
                </a:lnTo>
                <a:lnTo>
                  <a:pt x="1568" y="2270"/>
                </a:lnTo>
                <a:lnTo>
                  <a:pt x="1577" y="2260"/>
                </a:lnTo>
                <a:lnTo>
                  <a:pt x="1587" y="2253"/>
                </a:lnTo>
                <a:lnTo>
                  <a:pt x="1594" y="2236"/>
                </a:lnTo>
                <a:lnTo>
                  <a:pt x="1601" y="2243"/>
                </a:lnTo>
                <a:lnTo>
                  <a:pt x="1611" y="2227"/>
                </a:lnTo>
                <a:lnTo>
                  <a:pt x="1601" y="2201"/>
                </a:lnTo>
                <a:lnTo>
                  <a:pt x="1587" y="2201"/>
                </a:lnTo>
                <a:lnTo>
                  <a:pt x="1577" y="2201"/>
                </a:lnTo>
                <a:lnTo>
                  <a:pt x="1561" y="2194"/>
                </a:lnTo>
                <a:lnTo>
                  <a:pt x="1568" y="2175"/>
                </a:lnTo>
                <a:lnTo>
                  <a:pt x="1577" y="2168"/>
                </a:lnTo>
                <a:lnTo>
                  <a:pt x="1587" y="2168"/>
                </a:lnTo>
                <a:lnTo>
                  <a:pt x="1577" y="2158"/>
                </a:lnTo>
                <a:lnTo>
                  <a:pt x="1551" y="2142"/>
                </a:lnTo>
                <a:lnTo>
                  <a:pt x="1518" y="2116"/>
                </a:lnTo>
                <a:lnTo>
                  <a:pt x="1502" y="2099"/>
                </a:lnTo>
                <a:lnTo>
                  <a:pt x="1492" y="2109"/>
                </a:lnTo>
                <a:lnTo>
                  <a:pt x="1473" y="2109"/>
                </a:lnTo>
                <a:lnTo>
                  <a:pt x="1473" y="2116"/>
                </a:lnTo>
                <a:lnTo>
                  <a:pt x="1466" y="2125"/>
                </a:lnTo>
                <a:lnTo>
                  <a:pt x="1450" y="2116"/>
                </a:lnTo>
                <a:lnTo>
                  <a:pt x="1440" y="2109"/>
                </a:lnTo>
                <a:lnTo>
                  <a:pt x="1440" y="2092"/>
                </a:lnTo>
                <a:lnTo>
                  <a:pt x="1440" y="2083"/>
                </a:lnTo>
                <a:lnTo>
                  <a:pt x="1424" y="2073"/>
                </a:lnTo>
                <a:lnTo>
                  <a:pt x="1407" y="2073"/>
                </a:lnTo>
                <a:lnTo>
                  <a:pt x="1398" y="2083"/>
                </a:lnTo>
                <a:lnTo>
                  <a:pt x="1398" y="2056"/>
                </a:lnTo>
                <a:lnTo>
                  <a:pt x="1398" y="2040"/>
                </a:lnTo>
                <a:lnTo>
                  <a:pt x="1417" y="2014"/>
                </a:lnTo>
                <a:lnTo>
                  <a:pt x="1391" y="2007"/>
                </a:lnTo>
                <a:lnTo>
                  <a:pt x="1381" y="1997"/>
                </a:lnTo>
                <a:lnTo>
                  <a:pt x="1391" y="1988"/>
                </a:lnTo>
                <a:lnTo>
                  <a:pt x="1391" y="1962"/>
                </a:lnTo>
                <a:lnTo>
                  <a:pt x="1381" y="1952"/>
                </a:lnTo>
                <a:lnTo>
                  <a:pt x="1374" y="1938"/>
                </a:lnTo>
                <a:lnTo>
                  <a:pt x="1381" y="1922"/>
                </a:lnTo>
                <a:lnTo>
                  <a:pt x="1391" y="1922"/>
                </a:lnTo>
                <a:lnTo>
                  <a:pt x="1391" y="1896"/>
                </a:lnTo>
                <a:lnTo>
                  <a:pt x="1381" y="1896"/>
                </a:lnTo>
                <a:lnTo>
                  <a:pt x="1398" y="1869"/>
                </a:lnTo>
                <a:lnTo>
                  <a:pt x="1417" y="1879"/>
                </a:lnTo>
                <a:lnTo>
                  <a:pt x="1424" y="1896"/>
                </a:lnTo>
                <a:lnTo>
                  <a:pt x="1440" y="1903"/>
                </a:lnTo>
                <a:lnTo>
                  <a:pt x="1450" y="1912"/>
                </a:lnTo>
                <a:lnTo>
                  <a:pt x="1466" y="1896"/>
                </a:lnTo>
                <a:lnTo>
                  <a:pt x="1466" y="1886"/>
                </a:lnTo>
                <a:lnTo>
                  <a:pt x="1459" y="1869"/>
                </a:lnTo>
                <a:lnTo>
                  <a:pt x="1450" y="1843"/>
                </a:lnTo>
                <a:lnTo>
                  <a:pt x="1433" y="1834"/>
                </a:lnTo>
                <a:lnTo>
                  <a:pt x="1450" y="1827"/>
                </a:lnTo>
                <a:lnTo>
                  <a:pt x="1466" y="1827"/>
                </a:lnTo>
                <a:lnTo>
                  <a:pt x="1466" y="1817"/>
                </a:lnTo>
                <a:lnTo>
                  <a:pt x="1466" y="1810"/>
                </a:lnTo>
                <a:lnTo>
                  <a:pt x="1466" y="1775"/>
                </a:lnTo>
                <a:lnTo>
                  <a:pt x="1483" y="1775"/>
                </a:lnTo>
                <a:lnTo>
                  <a:pt x="1492" y="1765"/>
                </a:lnTo>
                <a:lnTo>
                  <a:pt x="1502" y="1751"/>
                </a:lnTo>
                <a:lnTo>
                  <a:pt x="1518" y="1732"/>
                </a:lnTo>
                <a:lnTo>
                  <a:pt x="1525" y="1716"/>
                </a:lnTo>
                <a:lnTo>
                  <a:pt x="1525" y="1706"/>
                </a:lnTo>
                <a:lnTo>
                  <a:pt x="1525" y="1699"/>
                </a:lnTo>
                <a:lnTo>
                  <a:pt x="1535" y="1699"/>
                </a:lnTo>
                <a:lnTo>
                  <a:pt x="1544" y="1706"/>
                </a:lnTo>
                <a:lnTo>
                  <a:pt x="1551" y="1716"/>
                </a:lnTo>
                <a:lnTo>
                  <a:pt x="1568" y="1706"/>
                </a:lnTo>
                <a:lnTo>
                  <a:pt x="1577" y="1690"/>
                </a:lnTo>
                <a:lnTo>
                  <a:pt x="1587" y="1673"/>
                </a:lnTo>
                <a:lnTo>
                  <a:pt x="1601" y="1664"/>
                </a:lnTo>
                <a:lnTo>
                  <a:pt x="1611" y="1664"/>
                </a:lnTo>
                <a:lnTo>
                  <a:pt x="1630" y="1683"/>
                </a:lnTo>
                <a:lnTo>
                  <a:pt x="1630" y="1673"/>
                </a:lnTo>
                <a:lnTo>
                  <a:pt x="1637" y="1656"/>
                </a:lnTo>
                <a:lnTo>
                  <a:pt x="1646" y="1656"/>
                </a:lnTo>
                <a:lnTo>
                  <a:pt x="1663" y="1656"/>
                </a:lnTo>
                <a:lnTo>
                  <a:pt x="1672" y="1664"/>
                </a:lnTo>
                <a:lnTo>
                  <a:pt x="1689" y="1673"/>
                </a:lnTo>
                <a:lnTo>
                  <a:pt x="1715" y="1673"/>
                </a:lnTo>
                <a:lnTo>
                  <a:pt x="1722" y="1683"/>
                </a:lnTo>
                <a:lnTo>
                  <a:pt x="1738" y="1683"/>
                </a:lnTo>
                <a:lnTo>
                  <a:pt x="1748" y="1683"/>
                </a:lnTo>
                <a:lnTo>
                  <a:pt x="1757" y="1690"/>
                </a:lnTo>
                <a:lnTo>
                  <a:pt x="1757" y="1673"/>
                </a:lnTo>
                <a:lnTo>
                  <a:pt x="1748" y="1664"/>
                </a:lnTo>
                <a:lnTo>
                  <a:pt x="1748" y="1656"/>
                </a:lnTo>
                <a:lnTo>
                  <a:pt x="1757" y="1656"/>
                </a:lnTo>
                <a:lnTo>
                  <a:pt x="1800" y="1664"/>
                </a:lnTo>
                <a:lnTo>
                  <a:pt x="1826" y="1673"/>
                </a:lnTo>
                <a:lnTo>
                  <a:pt x="1835" y="1656"/>
                </a:lnTo>
                <a:lnTo>
                  <a:pt x="1835" y="1647"/>
                </a:lnTo>
                <a:lnTo>
                  <a:pt x="1835" y="1638"/>
                </a:lnTo>
                <a:lnTo>
                  <a:pt x="1842" y="1638"/>
                </a:lnTo>
                <a:lnTo>
                  <a:pt x="1842" y="1630"/>
                </a:lnTo>
                <a:lnTo>
                  <a:pt x="1835" y="1621"/>
                </a:lnTo>
                <a:lnTo>
                  <a:pt x="1850" y="1621"/>
                </a:lnTo>
                <a:lnTo>
                  <a:pt x="1868" y="1621"/>
                </a:lnTo>
                <a:lnTo>
                  <a:pt x="1859" y="1604"/>
                </a:lnTo>
                <a:lnTo>
                  <a:pt x="1868" y="1604"/>
                </a:lnTo>
                <a:lnTo>
                  <a:pt x="1878" y="1595"/>
                </a:lnTo>
                <a:lnTo>
                  <a:pt x="1894" y="1604"/>
                </a:lnTo>
                <a:lnTo>
                  <a:pt x="1911" y="1604"/>
                </a:lnTo>
                <a:lnTo>
                  <a:pt x="1911" y="1588"/>
                </a:lnTo>
                <a:lnTo>
                  <a:pt x="1928" y="1588"/>
                </a:lnTo>
                <a:lnTo>
                  <a:pt x="1920" y="1569"/>
                </a:lnTo>
                <a:lnTo>
                  <a:pt x="1928" y="1562"/>
                </a:lnTo>
                <a:lnTo>
                  <a:pt x="1935" y="1555"/>
                </a:lnTo>
                <a:lnTo>
                  <a:pt x="1954" y="1545"/>
                </a:lnTo>
                <a:lnTo>
                  <a:pt x="1963" y="1555"/>
                </a:lnTo>
                <a:lnTo>
                  <a:pt x="1970" y="1569"/>
                </a:lnTo>
                <a:lnTo>
                  <a:pt x="1987" y="1569"/>
                </a:lnTo>
                <a:lnTo>
                  <a:pt x="2022" y="1562"/>
                </a:lnTo>
                <a:lnTo>
                  <a:pt x="2029" y="1562"/>
                </a:lnTo>
                <a:lnTo>
                  <a:pt x="2039" y="1562"/>
                </a:lnTo>
                <a:lnTo>
                  <a:pt x="2039" y="1555"/>
                </a:lnTo>
                <a:lnTo>
                  <a:pt x="2039" y="1538"/>
                </a:lnTo>
                <a:lnTo>
                  <a:pt x="2055" y="1529"/>
                </a:lnTo>
                <a:lnTo>
                  <a:pt x="2081" y="1519"/>
                </a:lnTo>
                <a:lnTo>
                  <a:pt x="2107" y="1493"/>
                </a:lnTo>
                <a:lnTo>
                  <a:pt x="2114" y="1486"/>
                </a:lnTo>
                <a:lnTo>
                  <a:pt x="2114" y="1467"/>
                </a:lnTo>
                <a:lnTo>
                  <a:pt x="2107" y="1451"/>
                </a:lnTo>
                <a:lnTo>
                  <a:pt x="2088" y="1434"/>
                </a:lnTo>
                <a:lnTo>
                  <a:pt x="2081" y="1434"/>
                </a:lnTo>
                <a:lnTo>
                  <a:pt x="2072" y="1441"/>
                </a:lnTo>
                <a:lnTo>
                  <a:pt x="2055" y="1451"/>
                </a:lnTo>
                <a:lnTo>
                  <a:pt x="2029" y="1451"/>
                </a:lnTo>
                <a:lnTo>
                  <a:pt x="2013" y="1451"/>
                </a:lnTo>
                <a:lnTo>
                  <a:pt x="2006" y="1451"/>
                </a:lnTo>
                <a:lnTo>
                  <a:pt x="1977" y="1441"/>
                </a:lnTo>
                <a:lnTo>
                  <a:pt x="1977" y="1434"/>
                </a:lnTo>
                <a:lnTo>
                  <a:pt x="1970" y="1417"/>
                </a:lnTo>
                <a:lnTo>
                  <a:pt x="1963" y="1417"/>
                </a:lnTo>
                <a:lnTo>
                  <a:pt x="1954" y="1417"/>
                </a:lnTo>
                <a:lnTo>
                  <a:pt x="1935" y="1434"/>
                </a:lnTo>
                <a:lnTo>
                  <a:pt x="1928" y="1441"/>
                </a:lnTo>
                <a:lnTo>
                  <a:pt x="1911" y="1441"/>
                </a:lnTo>
                <a:lnTo>
                  <a:pt x="1894" y="1425"/>
                </a:lnTo>
                <a:lnTo>
                  <a:pt x="1878" y="1398"/>
                </a:lnTo>
                <a:lnTo>
                  <a:pt x="1878" y="1382"/>
                </a:lnTo>
                <a:lnTo>
                  <a:pt x="1878" y="1375"/>
                </a:lnTo>
                <a:lnTo>
                  <a:pt x="1868" y="1365"/>
                </a:lnTo>
                <a:lnTo>
                  <a:pt x="1859" y="1358"/>
                </a:lnTo>
                <a:lnTo>
                  <a:pt x="1859" y="1349"/>
                </a:lnTo>
                <a:lnTo>
                  <a:pt x="1842" y="1332"/>
                </a:lnTo>
                <a:lnTo>
                  <a:pt x="1842" y="1297"/>
                </a:lnTo>
                <a:lnTo>
                  <a:pt x="1850" y="1273"/>
                </a:lnTo>
                <a:lnTo>
                  <a:pt x="1842" y="1264"/>
                </a:lnTo>
                <a:lnTo>
                  <a:pt x="1826" y="1254"/>
                </a:lnTo>
                <a:lnTo>
                  <a:pt x="1826" y="1228"/>
                </a:lnTo>
                <a:lnTo>
                  <a:pt x="1826" y="1211"/>
                </a:lnTo>
                <a:lnTo>
                  <a:pt x="1816" y="1221"/>
                </a:lnTo>
                <a:lnTo>
                  <a:pt x="1816" y="1228"/>
                </a:lnTo>
                <a:lnTo>
                  <a:pt x="1800" y="1264"/>
                </a:lnTo>
                <a:lnTo>
                  <a:pt x="1781" y="1290"/>
                </a:lnTo>
                <a:lnTo>
                  <a:pt x="1757" y="1297"/>
                </a:lnTo>
                <a:lnTo>
                  <a:pt x="1731" y="1306"/>
                </a:lnTo>
                <a:lnTo>
                  <a:pt x="1715" y="1316"/>
                </a:lnTo>
                <a:lnTo>
                  <a:pt x="1689" y="1280"/>
                </a:lnTo>
                <a:lnTo>
                  <a:pt x="1689" y="1254"/>
                </a:lnTo>
                <a:lnTo>
                  <a:pt x="1705" y="1247"/>
                </a:lnTo>
                <a:lnTo>
                  <a:pt x="1731" y="1238"/>
                </a:lnTo>
                <a:lnTo>
                  <a:pt x="1738" y="1247"/>
                </a:lnTo>
                <a:lnTo>
                  <a:pt x="1748" y="1254"/>
                </a:lnTo>
                <a:lnTo>
                  <a:pt x="1757" y="1247"/>
                </a:lnTo>
                <a:lnTo>
                  <a:pt x="1757" y="1228"/>
                </a:lnTo>
                <a:lnTo>
                  <a:pt x="1757" y="1221"/>
                </a:lnTo>
                <a:lnTo>
                  <a:pt x="1767" y="1202"/>
                </a:lnTo>
                <a:lnTo>
                  <a:pt x="1774" y="1188"/>
                </a:lnTo>
                <a:lnTo>
                  <a:pt x="1767" y="1169"/>
                </a:lnTo>
                <a:lnTo>
                  <a:pt x="1748" y="1162"/>
                </a:lnTo>
                <a:lnTo>
                  <a:pt x="1748" y="1152"/>
                </a:lnTo>
                <a:lnTo>
                  <a:pt x="1738" y="1152"/>
                </a:lnTo>
                <a:lnTo>
                  <a:pt x="1731" y="1162"/>
                </a:lnTo>
                <a:lnTo>
                  <a:pt x="1715" y="1162"/>
                </a:lnTo>
                <a:lnTo>
                  <a:pt x="1705" y="1162"/>
                </a:lnTo>
                <a:lnTo>
                  <a:pt x="1698" y="1169"/>
                </a:lnTo>
                <a:lnTo>
                  <a:pt x="1663" y="1188"/>
                </a:lnTo>
                <a:lnTo>
                  <a:pt x="1646" y="1188"/>
                </a:lnTo>
                <a:lnTo>
                  <a:pt x="1637" y="1162"/>
                </a:lnTo>
                <a:lnTo>
                  <a:pt x="1620" y="1136"/>
                </a:lnTo>
                <a:lnTo>
                  <a:pt x="1611" y="1126"/>
                </a:lnTo>
                <a:lnTo>
                  <a:pt x="1620" y="1119"/>
                </a:lnTo>
                <a:lnTo>
                  <a:pt x="1630" y="1119"/>
                </a:lnTo>
                <a:lnTo>
                  <a:pt x="1630" y="1093"/>
                </a:lnTo>
                <a:lnTo>
                  <a:pt x="1620" y="1067"/>
                </a:lnTo>
                <a:lnTo>
                  <a:pt x="1601" y="1041"/>
                </a:lnTo>
                <a:lnTo>
                  <a:pt x="1611" y="1024"/>
                </a:lnTo>
                <a:lnTo>
                  <a:pt x="1620" y="1015"/>
                </a:lnTo>
                <a:lnTo>
                  <a:pt x="1630" y="1015"/>
                </a:lnTo>
                <a:lnTo>
                  <a:pt x="1630" y="1006"/>
                </a:lnTo>
                <a:lnTo>
                  <a:pt x="1620" y="991"/>
                </a:lnTo>
                <a:lnTo>
                  <a:pt x="1620" y="982"/>
                </a:lnTo>
                <a:lnTo>
                  <a:pt x="1620" y="956"/>
                </a:lnTo>
                <a:lnTo>
                  <a:pt x="1620" y="949"/>
                </a:lnTo>
                <a:lnTo>
                  <a:pt x="1601" y="949"/>
                </a:lnTo>
                <a:lnTo>
                  <a:pt x="1601" y="932"/>
                </a:lnTo>
                <a:lnTo>
                  <a:pt x="1594" y="913"/>
                </a:lnTo>
                <a:lnTo>
                  <a:pt x="1587" y="906"/>
                </a:lnTo>
                <a:lnTo>
                  <a:pt x="1577" y="887"/>
                </a:lnTo>
                <a:lnTo>
                  <a:pt x="1568" y="887"/>
                </a:lnTo>
                <a:lnTo>
                  <a:pt x="1568" y="880"/>
                </a:lnTo>
                <a:lnTo>
                  <a:pt x="1561" y="871"/>
                </a:lnTo>
                <a:lnTo>
                  <a:pt x="1551" y="880"/>
                </a:lnTo>
                <a:lnTo>
                  <a:pt x="1544" y="854"/>
                </a:lnTo>
                <a:lnTo>
                  <a:pt x="1525" y="819"/>
                </a:lnTo>
                <a:lnTo>
                  <a:pt x="1518" y="785"/>
                </a:lnTo>
                <a:lnTo>
                  <a:pt x="1509" y="769"/>
                </a:lnTo>
                <a:lnTo>
                  <a:pt x="1483" y="752"/>
                </a:lnTo>
                <a:lnTo>
                  <a:pt x="1483" y="726"/>
                </a:lnTo>
                <a:lnTo>
                  <a:pt x="1473" y="717"/>
                </a:lnTo>
                <a:lnTo>
                  <a:pt x="1459" y="700"/>
                </a:lnTo>
                <a:lnTo>
                  <a:pt x="1459" y="684"/>
                </a:lnTo>
                <a:lnTo>
                  <a:pt x="1450" y="665"/>
                </a:lnTo>
                <a:lnTo>
                  <a:pt x="1440" y="658"/>
                </a:lnTo>
                <a:lnTo>
                  <a:pt x="1433" y="648"/>
                </a:lnTo>
                <a:lnTo>
                  <a:pt x="1424" y="615"/>
                </a:lnTo>
                <a:lnTo>
                  <a:pt x="1417" y="608"/>
                </a:lnTo>
                <a:lnTo>
                  <a:pt x="1398" y="598"/>
                </a:lnTo>
                <a:lnTo>
                  <a:pt x="1398" y="589"/>
                </a:lnTo>
                <a:lnTo>
                  <a:pt x="1381" y="582"/>
                </a:lnTo>
                <a:lnTo>
                  <a:pt x="1374" y="572"/>
                </a:lnTo>
                <a:lnTo>
                  <a:pt x="1365" y="530"/>
                </a:lnTo>
                <a:lnTo>
                  <a:pt x="1355" y="530"/>
                </a:lnTo>
                <a:lnTo>
                  <a:pt x="1355" y="513"/>
                </a:lnTo>
                <a:lnTo>
                  <a:pt x="1346" y="497"/>
                </a:lnTo>
                <a:lnTo>
                  <a:pt x="1346" y="504"/>
                </a:lnTo>
                <a:lnTo>
                  <a:pt x="1339" y="487"/>
                </a:lnTo>
                <a:lnTo>
                  <a:pt x="1339" y="468"/>
                </a:lnTo>
                <a:lnTo>
                  <a:pt x="1329" y="461"/>
                </a:lnTo>
                <a:lnTo>
                  <a:pt x="1322" y="442"/>
                </a:lnTo>
                <a:lnTo>
                  <a:pt x="1312" y="428"/>
                </a:lnTo>
                <a:lnTo>
                  <a:pt x="1296" y="428"/>
                </a:lnTo>
                <a:lnTo>
                  <a:pt x="1296" y="419"/>
                </a:lnTo>
                <a:lnTo>
                  <a:pt x="1296" y="411"/>
                </a:lnTo>
                <a:lnTo>
                  <a:pt x="1312" y="411"/>
                </a:lnTo>
                <a:lnTo>
                  <a:pt x="1322" y="402"/>
                </a:lnTo>
                <a:lnTo>
                  <a:pt x="1322" y="369"/>
                </a:lnTo>
                <a:lnTo>
                  <a:pt x="1322" y="343"/>
                </a:lnTo>
                <a:lnTo>
                  <a:pt x="1322" y="326"/>
                </a:lnTo>
                <a:lnTo>
                  <a:pt x="1329" y="326"/>
                </a:lnTo>
                <a:lnTo>
                  <a:pt x="1339" y="300"/>
                </a:lnTo>
                <a:lnTo>
                  <a:pt x="1339" y="265"/>
                </a:lnTo>
                <a:lnTo>
                  <a:pt x="1322" y="222"/>
                </a:lnTo>
                <a:lnTo>
                  <a:pt x="1329" y="206"/>
                </a:lnTo>
                <a:lnTo>
                  <a:pt x="1346" y="189"/>
                </a:lnTo>
                <a:lnTo>
                  <a:pt x="1355" y="170"/>
                </a:lnTo>
                <a:lnTo>
                  <a:pt x="1346" y="146"/>
                </a:lnTo>
                <a:lnTo>
                  <a:pt x="1346" y="120"/>
                </a:lnTo>
                <a:lnTo>
                  <a:pt x="1339" y="104"/>
                </a:lnTo>
                <a:lnTo>
                  <a:pt x="1322" y="94"/>
                </a:lnTo>
                <a:lnTo>
                  <a:pt x="1329" y="78"/>
                </a:lnTo>
                <a:lnTo>
                  <a:pt x="1322" y="78"/>
                </a:lnTo>
                <a:lnTo>
                  <a:pt x="1312" y="68"/>
                </a:lnTo>
                <a:lnTo>
                  <a:pt x="1303" y="68"/>
                </a:lnTo>
                <a:lnTo>
                  <a:pt x="1296" y="85"/>
                </a:lnTo>
                <a:lnTo>
                  <a:pt x="1289" y="85"/>
                </a:lnTo>
                <a:lnTo>
                  <a:pt x="1279" y="68"/>
                </a:lnTo>
                <a:lnTo>
                  <a:pt x="1270" y="59"/>
                </a:lnTo>
                <a:lnTo>
                  <a:pt x="1263" y="59"/>
                </a:lnTo>
                <a:lnTo>
                  <a:pt x="1253" y="52"/>
                </a:lnTo>
                <a:lnTo>
                  <a:pt x="1253" y="35"/>
                </a:lnTo>
                <a:lnTo>
                  <a:pt x="1244" y="35"/>
                </a:lnTo>
                <a:lnTo>
                  <a:pt x="1227" y="35"/>
                </a:lnTo>
                <a:lnTo>
                  <a:pt x="1220" y="45"/>
                </a:lnTo>
                <a:lnTo>
                  <a:pt x="1211" y="45"/>
                </a:lnTo>
                <a:lnTo>
                  <a:pt x="1201" y="45"/>
                </a:lnTo>
                <a:lnTo>
                  <a:pt x="1194" y="26"/>
                </a:lnTo>
                <a:lnTo>
                  <a:pt x="1185" y="19"/>
                </a:lnTo>
                <a:lnTo>
                  <a:pt x="1194" y="9"/>
                </a:lnTo>
                <a:lnTo>
                  <a:pt x="1194" y="0"/>
                </a:lnTo>
                <a:lnTo>
                  <a:pt x="1185" y="0"/>
                </a:lnTo>
                <a:lnTo>
                  <a:pt x="1149" y="0"/>
                </a:lnTo>
                <a:lnTo>
                  <a:pt x="1116" y="19"/>
                </a:lnTo>
                <a:lnTo>
                  <a:pt x="1100" y="26"/>
                </a:lnTo>
                <a:lnTo>
                  <a:pt x="1074" y="26"/>
                </a:lnTo>
                <a:lnTo>
                  <a:pt x="1057" y="26"/>
                </a:lnTo>
                <a:lnTo>
                  <a:pt x="1064" y="35"/>
                </a:lnTo>
                <a:lnTo>
                  <a:pt x="1064" y="59"/>
                </a:lnTo>
                <a:lnTo>
                  <a:pt x="1057" y="68"/>
                </a:lnTo>
                <a:lnTo>
                  <a:pt x="1064" y="78"/>
                </a:lnTo>
                <a:lnTo>
                  <a:pt x="1074" y="85"/>
                </a:lnTo>
                <a:lnTo>
                  <a:pt x="1083" y="104"/>
                </a:lnTo>
                <a:lnTo>
                  <a:pt x="1100" y="104"/>
                </a:lnTo>
                <a:lnTo>
                  <a:pt x="1107" y="111"/>
                </a:lnTo>
                <a:lnTo>
                  <a:pt x="1090" y="130"/>
                </a:lnTo>
                <a:lnTo>
                  <a:pt x="1083" y="153"/>
                </a:lnTo>
                <a:lnTo>
                  <a:pt x="1090" y="153"/>
                </a:lnTo>
                <a:lnTo>
                  <a:pt x="1100" y="163"/>
                </a:lnTo>
                <a:lnTo>
                  <a:pt x="1083" y="179"/>
                </a:lnTo>
                <a:lnTo>
                  <a:pt x="1064" y="179"/>
                </a:lnTo>
                <a:lnTo>
                  <a:pt x="1048" y="163"/>
                </a:lnTo>
                <a:lnTo>
                  <a:pt x="1057" y="153"/>
                </a:lnTo>
                <a:lnTo>
                  <a:pt x="1048" y="137"/>
                </a:lnTo>
                <a:lnTo>
                  <a:pt x="1040" y="130"/>
                </a:lnTo>
                <a:lnTo>
                  <a:pt x="1031" y="137"/>
                </a:lnTo>
                <a:lnTo>
                  <a:pt x="1024" y="153"/>
                </a:lnTo>
                <a:lnTo>
                  <a:pt x="1024" y="163"/>
                </a:lnTo>
                <a:lnTo>
                  <a:pt x="1024" y="179"/>
                </a:lnTo>
                <a:lnTo>
                  <a:pt x="1024" y="189"/>
                </a:lnTo>
                <a:lnTo>
                  <a:pt x="1014" y="206"/>
                </a:lnTo>
                <a:lnTo>
                  <a:pt x="988" y="206"/>
                </a:lnTo>
                <a:lnTo>
                  <a:pt x="972" y="206"/>
                </a:lnTo>
                <a:lnTo>
                  <a:pt x="972" y="215"/>
                </a:lnTo>
                <a:lnTo>
                  <a:pt x="962" y="248"/>
                </a:lnTo>
                <a:lnTo>
                  <a:pt x="962" y="255"/>
                </a:lnTo>
                <a:lnTo>
                  <a:pt x="946" y="274"/>
                </a:lnTo>
                <a:lnTo>
                  <a:pt x="946" y="281"/>
                </a:lnTo>
                <a:lnTo>
                  <a:pt x="946" y="291"/>
                </a:lnTo>
                <a:lnTo>
                  <a:pt x="936" y="281"/>
                </a:lnTo>
                <a:lnTo>
                  <a:pt x="929" y="274"/>
                </a:lnTo>
                <a:lnTo>
                  <a:pt x="913" y="300"/>
                </a:lnTo>
                <a:lnTo>
                  <a:pt x="913" y="281"/>
                </a:lnTo>
                <a:lnTo>
                  <a:pt x="913" y="265"/>
                </a:lnTo>
                <a:lnTo>
                  <a:pt x="920" y="255"/>
                </a:lnTo>
                <a:lnTo>
                  <a:pt x="913" y="248"/>
                </a:lnTo>
                <a:lnTo>
                  <a:pt x="913" y="232"/>
                </a:lnTo>
                <a:lnTo>
                  <a:pt x="903" y="232"/>
                </a:lnTo>
                <a:lnTo>
                  <a:pt x="894" y="232"/>
                </a:lnTo>
                <a:lnTo>
                  <a:pt x="887" y="222"/>
                </a:lnTo>
                <a:lnTo>
                  <a:pt x="877" y="248"/>
                </a:lnTo>
                <a:lnTo>
                  <a:pt x="887" y="248"/>
                </a:lnTo>
                <a:lnTo>
                  <a:pt x="887" y="265"/>
                </a:lnTo>
                <a:lnTo>
                  <a:pt x="877" y="265"/>
                </a:lnTo>
                <a:lnTo>
                  <a:pt x="877" y="255"/>
                </a:lnTo>
                <a:lnTo>
                  <a:pt x="870" y="255"/>
                </a:lnTo>
                <a:lnTo>
                  <a:pt x="870" y="265"/>
                </a:lnTo>
                <a:lnTo>
                  <a:pt x="870" y="274"/>
                </a:lnTo>
                <a:lnTo>
                  <a:pt x="887" y="300"/>
                </a:lnTo>
                <a:lnTo>
                  <a:pt x="870" y="300"/>
                </a:lnTo>
                <a:lnTo>
                  <a:pt x="861" y="291"/>
                </a:lnTo>
                <a:lnTo>
                  <a:pt x="861" y="281"/>
                </a:lnTo>
                <a:lnTo>
                  <a:pt x="851" y="291"/>
                </a:lnTo>
                <a:lnTo>
                  <a:pt x="844" y="307"/>
                </a:lnTo>
                <a:lnTo>
                  <a:pt x="835" y="307"/>
                </a:lnTo>
                <a:lnTo>
                  <a:pt x="818" y="343"/>
                </a:lnTo>
                <a:lnTo>
                  <a:pt x="809" y="350"/>
                </a:lnTo>
                <a:lnTo>
                  <a:pt x="802" y="359"/>
                </a:lnTo>
                <a:lnTo>
                  <a:pt x="809" y="369"/>
                </a:lnTo>
                <a:lnTo>
                  <a:pt x="818" y="376"/>
                </a:lnTo>
                <a:lnTo>
                  <a:pt x="802" y="395"/>
                </a:lnTo>
                <a:lnTo>
                  <a:pt x="792" y="402"/>
                </a:lnTo>
                <a:lnTo>
                  <a:pt x="785" y="402"/>
                </a:lnTo>
                <a:lnTo>
                  <a:pt x="802" y="419"/>
                </a:lnTo>
                <a:lnTo>
                  <a:pt x="802" y="435"/>
                </a:lnTo>
                <a:lnTo>
                  <a:pt x="802" y="452"/>
                </a:lnTo>
                <a:lnTo>
                  <a:pt x="802" y="461"/>
                </a:lnTo>
                <a:lnTo>
                  <a:pt x="792" y="468"/>
                </a:lnTo>
                <a:lnTo>
                  <a:pt x="775" y="478"/>
                </a:lnTo>
                <a:lnTo>
                  <a:pt x="749" y="487"/>
                </a:lnTo>
                <a:lnTo>
                  <a:pt x="742" y="497"/>
                </a:lnTo>
                <a:lnTo>
                  <a:pt x="714" y="478"/>
                </a:lnTo>
                <a:lnTo>
                  <a:pt x="697" y="468"/>
                </a:lnTo>
                <a:lnTo>
                  <a:pt x="681" y="468"/>
                </a:lnTo>
                <a:lnTo>
                  <a:pt x="664" y="461"/>
                </a:lnTo>
                <a:lnTo>
                  <a:pt x="664" y="452"/>
                </a:lnTo>
                <a:lnTo>
                  <a:pt x="664" y="435"/>
                </a:lnTo>
                <a:lnTo>
                  <a:pt x="664" y="428"/>
                </a:lnTo>
                <a:lnTo>
                  <a:pt x="690" y="419"/>
                </a:lnTo>
                <a:lnTo>
                  <a:pt x="690" y="411"/>
                </a:lnTo>
                <a:lnTo>
                  <a:pt x="707" y="411"/>
                </a:lnTo>
                <a:lnTo>
                  <a:pt x="714" y="402"/>
                </a:lnTo>
                <a:lnTo>
                  <a:pt x="697" y="395"/>
                </a:lnTo>
                <a:lnTo>
                  <a:pt x="690" y="385"/>
                </a:lnTo>
                <a:lnTo>
                  <a:pt x="681" y="376"/>
                </a:lnTo>
                <a:lnTo>
                  <a:pt x="664" y="376"/>
                </a:lnTo>
                <a:lnTo>
                  <a:pt x="655" y="359"/>
                </a:lnTo>
                <a:lnTo>
                  <a:pt x="648" y="359"/>
                </a:lnTo>
                <a:lnTo>
                  <a:pt x="622" y="369"/>
                </a:lnTo>
                <a:lnTo>
                  <a:pt x="605" y="369"/>
                </a:lnTo>
                <a:lnTo>
                  <a:pt x="605" y="376"/>
                </a:lnTo>
                <a:lnTo>
                  <a:pt x="586" y="376"/>
                </a:lnTo>
                <a:lnTo>
                  <a:pt x="605" y="385"/>
                </a:lnTo>
                <a:lnTo>
                  <a:pt x="612" y="395"/>
                </a:lnTo>
                <a:lnTo>
                  <a:pt x="622" y="402"/>
                </a:lnTo>
                <a:lnTo>
                  <a:pt x="622" y="411"/>
                </a:lnTo>
                <a:lnTo>
                  <a:pt x="622" y="428"/>
                </a:lnTo>
                <a:lnTo>
                  <a:pt x="631" y="435"/>
                </a:lnTo>
                <a:lnTo>
                  <a:pt x="631" y="442"/>
                </a:lnTo>
                <a:lnTo>
                  <a:pt x="638" y="442"/>
                </a:lnTo>
                <a:lnTo>
                  <a:pt x="631" y="461"/>
                </a:lnTo>
                <a:lnTo>
                  <a:pt x="631" y="468"/>
                </a:lnTo>
                <a:lnTo>
                  <a:pt x="631" y="497"/>
                </a:lnTo>
                <a:lnTo>
                  <a:pt x="648" y="497"/>
                </a:lnTo>
                <a:lnTo>
                  <a:pt x="664" y="497"/>
                </a:lnTo>
                <a:lnTo>
                  <a:pt x="671" y="504"/>
                </a:lnTo>
                <a:lnTo>
                  <a:pt x="671" y="513"/>
                </a:lnTo>
                <a:lnTo>
                  <a:pt x="681" y="523"/>
                </a:lnTo>
                <a:lnTo>
                  <a:pt x="681" y="530"/>
                </a:lnTo>
                <a:lnTo>
                  <a:pt x="690" y="539"/>
                </a:lnTo>
                <a:lnTo>
                  <a:pt x="681" y="546"/>
                </a:lnTo>
                <a:lnTo>
                  <a:pt x="671" y="563"/>
                </a:lnTo>
                <a:lnTo>
                  <a:pt x="690" y="582"/>
                </a:lnTo>
                <a:lnTo>
                  <a:pt x="697" y="589"/>
                </a:lnTo>
                <a:lnTo>
                  <a:pt x="681" y="598"/>
                </a:lnTo>
                <a:lnTo>
                  <a:pt x="671" y="589"/>
                </a:lnTo>
                <a:lnTo>
                  <a:pt x="655" y="598"/>
                </a:lnTo>
                <a:lnTo>
                  <a:pt x="638" y="598"/>
                </a:lnTo>
                <a:lnTo>
                  <a:pt x="648" y="582"/>
                </a:lnTo>
                <a:lnTo>
                  <a:pt x="655" y="582"/>
                </a:lnTo>
                <a:lnTo>
                  <a:pt x="638" y="563"/>
                </a:lnTo>
                <a:lnTo>
                  <a:pt x="631" y="572"/>
                </a:lnTo>
                <a:lnTo>
                  <a:pt x="612" y="572"/>
                </a:lnTo>
                <a:lnTo>
                  <a:pt x="596" y="563"/>
                </a:lnTo>
                <a:lnTo>
                  <a:pt x="596" y="572"/>
                </a:lnTo>
                <a:lnTo>
                  <a:pt x="586" y="589"/>
                </a:lnTo>
                <a:lnTo>
                  <a:pt x="579" y="615"/>
                </a:lnTo>
                <a:lnTo>
                  <a:pt x="563" y="622"/>
                </a:lnTo>
                <a:lnTo>
                  <a:pt x="553" y="632"/>
                </a:lnTo>
                <a:lnTo>
                  <a:pt x="553" y="648"/>
                </a:lnTo>
                <a:lnTo>
                  <a:pt x="544" y="665"/>
                </a:lnTo>
                <a:lnTo>
                  <a:pt x="537" y="674"/>
                </a:lnTo>
                <a:lnTo>
                  <a:pt x="527" y="684"/>
                </a:lnTo>
                <a:lnTo>
                  <a:pt x="537" y="691"/>
                </a:lnTo>
                <a:lnTo>
                  <a:pt x="563" y="710"/>
                </a:lnTo>
                <a:lnTo>
                  <a:pt x="579" y="717"/>
                </a:lnTo>
                <a:lnTo>
                  <a:pt x="579" y="726"/>
                </a:lnTo>
                <a:lnTo>
                  <a:pt x="596" y="743"/>
                </a:lnTo>
                <a:lnTo>
                  <a:pt x="605" y="769"/>
                </a:lnTo>
                <a:lnTo>
                  <a:pt x="605" y="778"/>
                </a:lnTo>
                <a:lnTo>
                  <a:pt x="648" y="769"/>
                </a:lnTo>
                <a:lnTo>
                  <a:pt x="655" y="778"/>
                </a:lnTo>
                <a:lnTo>
                  <a:pt x="664" y="795"/>
                </a:lnTo>
                <a:lnTo>
                  <a:pt x="648" y="785"/>
                </a:lnTo>
                <a:lnTo>
                  <a:pt x="638" y="785"/>
                </a:lnTo>
                <a:lnTo>
                  <a:pt x="622" y="785"/>
                </a:lnTo>
                <a:lnTo>
                  <a:pt x="605" y="778"/>
                </a:lnTo>
                <a:lnTo>
                  <a:pt x="596" y="769"/>
                </a:lnTo>
                <a:lnTo>
                  <a:pt x="586" y="769"/>
                </a:lnTo>
                <a:lnTo>
                  <a:pt x="579" y="778"/>
                </a:lnTo>
                <a:lnTo>
                  <a:pt x="572" y="769"/>
                </a:lnTo>
                <a:lnTo>
                  <a:pt x="553" y="778"/>
                </a:lnTo>
                <a:lnTo>
                  <a:pt x="527" y="769"/>
                </a:lnTo>
                <a:lnTo>
                  <a:pt x="511" y="759"/>
                </a:lnTo>
                <a:lnTo>
                  <a:pt x="494" y="759"/>
                </a:lnTo>
                <a:lnTo>
                  <a:pt x="494" y="752"/>
                </a:lnTo>
                <a:lnTo>
                  <a:pt x="484" y="752"/>
                </a:lnTo>
                <a:lnTo>
                  <a:pt x="458" y="752"/>
                </a:lnTo>
                <a:lnTo>
                  <a:pt x="435" y="743"/>
                </a:lnTo>
                <a:lnTo>
                  <a:pt x="435" y="759"/>
                </a:lnTo>
                <a:lnTo>
                  <a:pt x="425" y="769"/>
                </a:lnTo>
                <a:lnTo>
                  <a:pt x="425" y="778"/>
                </a:lnTo>
                <a:lnTo>
                  <a:pt x="442" y="785"/>
                </a:lnTo>
                <a:lnTo>
                  <a:pt x="449" y="795"/>
                </a:lnTo>
                <a:lnTo>
                  <a:pt x="477" y="804"/>
                </a:lnTo>
                <a:lnTo>
                  <a:pt x="477" y="795"/>
                </a:lnTo>
                <a:lnTo>
                  <a:pt x="484" y="795"/>
                </a:lnTo>
                <a:lnTo>
                  <a:pt x="503" y="811"/>
                </a:lnTo>
                <a:lnTo>
                  <a:pt x="511" y="845"/>
                </a:lnTo>
                <a:lnTo>
                  <a:pt x="494" y="854"/>
                </a:lnTo>
                <a:lnTo>
                  <a:pt x="484" y="861"/>
                </a:lnTo>
                <a:lnTo>
                  <a:pt x="468" y="854"/>
                </a:lnTo>
                <a:lnTo>
                  <a:pt x="449" y="854"/>
                </a:lnTo>
                <a:lnTo>
                  <a:pt x="442" y="854"/>
                </a:lnTo>
                <a:lnTo>
                  <a:pt x="425" y="837"/>
                </a:lnTo>
                <a:lnTo>
                  <a:pt x="416" y="828"/>
                </a:lnTo>
                <a:lnTo>
                  <a:pt x="409" y="819"/>
                </a:lnTo>
                <a:lnTo>
                  <a:pt x="399" y="837"/>
                </a:lnTo>
                <a:lnTo>
                  <a:pt x="390" y="828"/>
                </a:lnTo>
                <a:lnTo>
                  <a:pt x="366" y="819"/>
                </a:lnTo>
                <a:lnTo>
                  <a:pt x="366" y="804"/>
                </a:lnTo>
                <a:lnTo>
                  <a:pt x="357" y="804"/>
                </a:lnTo>
                <a:lnTo>
                  <a:pt x="357" y="795"/>
                </a:lnTo>
                <a:lnTo>
                  <a:pt x="357" y="785"/>
                </a:lnTo>
                <a:lnTo>
                  <a:pt x="350" y="778"/>
                </a:lnTo>
                <a:lnTo>
                  <a:pt x="350" y="769"/>
                </a:lnTo>
                <a:lnTo>
                  <a:pt x="340" y="752"/>
                </a:lnTo>
                <a:lnTo>
                  <a:pt x="331" y="743"/>
                </a:lnTo>
                <a:lnTo>
                  <a:pt x="331" y="736"/>
                </a:lnTo>
                <a:lnTo>
                  <a:pt x="340" y="726"/>
                </a:lnTo>
                <a:lnTo>
                  <a:pt x="340" y="710"/>
                </a:lnTo>
                <a:lnTo>
                  <a:pt x="331" y="700"/>
                </a:lnTo>
                <a:lnTo>
                  <a:pt x="331" y="691"/>
                </a:lnTo>
                <a:lnTo>
                  <a:pt x="324" y="684"/>
                </a:lnTo>
                <a:lnTo>
                  <a:pt x="314" y="674"/>
                </a:lnTo>
                <a:lnTo>
                  <a:pt x="288" y="674"/>
                </a:lnTo>
                <a:lnTo>
                  <a:pt x="279" y="674"/>
                </a:lnTo>
                <a:lnTo>
                  <a:pt x="272" y="674"/>
                </a:lnTo>
                <a:lnTo>
                  <a:pt x="262" y="665"/>
                </a:lnTo>
                <a:lnTo>
                  <a:pt x="272" y="665"/>
                </a:lnTo>
                <a:lnTo>
                  <a:pt x="272" y="658"/>
                </a:lnTo>
                <a:lnTo>
                  <a:pt x="262" y="658"/>
                </a:lnTo>
                <a:lnTo>
                  <a:pt x="255" y="658"/>
                </a:lnTo>
                <a:lnTo>
                  <a:pt x="255" y="648"/>
                </a:lnTo>
                <a:lnTo>
                  <a:pt x="238" y="648"/>
                </a:lnTo>
                <a:lnTo>
                  <a:pt x="229" y="641"/>
                </a:lnTo>
                <a:lnTo>
                  <a:pt x="220" y="622"/>
                </a:lnTo>
                <a:lnTo>
                  <a:pt x="229" y="608"/>
                </a:lnTo>
                <a:lnTo>
                  <a:pt x="220" y="608"/>
                </a:lnTo>
                <a:lnTo>
                  <a:pt x="212" y="598"/>
                </a:lnTo>
                <a:lnTo>
                  <a:pt x="220" y="598"/>
                </a:lnTo>
                <a:lnTo>
                  <a:pt x="229" y="598"/>
                </a:lnTo>
                <a:lnTo>
                  <a:pt x="238" y="598"/>
                </a:lnTo>
                <a:lnTo>
                  <a:pt x="255" y="615"/>
                </a:lnTo>
                <a:lnTo>
                  <a:pt x="262" y="622"/>
                </a:lnTo>
                <a:lnTo>
                  <a:pt x="272" y="622"/>
                </a:lnTo>
                <a:lnTo>
                  <a:pt x="272" y="615"/>
                </a:lnTo>
                <a:lnTo>
                  <a:pt x="288" y="622"/>
                </a:lnTo>
                <a:lnTo>
                  <a:pt x="305" y="632"/>
                </a:lnTo>
                <a:lnTo>
                  <a:pt x="314" y="632"/>
                </a:lnTo>
                <a:lnTo>
                  <a:pt x="324" y="632"/>
                </a:lnTo>
                <a:lnTo>
                  <a:pt x="331" y="641"/>
                </a:lnTo>
                <a:lnTo>
                  <a:pt x="350" y="641"/>
                </a:lnTo>
                <a:lnTo>
                  <a:pt x="366" y="641"/>
                </a:lnTo>
                <a:lnTo>
                  <a:pt x="390" y="648"/>
                </a:lnTo>
                <a:lnTo>
                  <a:pt x="399" y="641"/>
                </a:lnTo>
                <a:lnTo>
                  <a:pt x="409" y="632"/>
                </a:lnTo>
                <a:lnTo>
                  <a:pt x="416" y="641"/>
                </a:lnTo>
                <a:lnTo>
                  <a:pt x="416" y="648"/>
                </a:lnTo>
                <a:lnTo>
                  <a:pt x="435" y="648"/>
                </a:lnTo>
                <a:lnTo>
                  <a:pt x="449" y="648"/>
                </a:lnTo>
                <a:lnTo>
                  <a:pt x="468" y="648"/>
                </a:lnTo>
                <a:lnTo>
                  <a:pt x="484" y="632"/>
                </a:lnTo>
                <a:lnTo>
                  <a:pt x="494" y="632"/>
                </a:lnTo>
                <a:lnTo>
                  <a:pt x="511" y="622"/>
                </a:lnTo>
                <a:lnTo>
                  <a:pt x="518" y="615"/>
                </a:lnTo>
                <a:lnTo>
                  <a:pt x="518" y="608"/>
                </a:lnTo>
                <a:lnTo>
                  <a:pt x="527" y="598"/>
                </a:lnTo>
                <a:lnTo>
                  <a:pt x="537" y="598"/>
                </a:lnTo>
                <a:lnTo>
                  <a:pt x="537" y="589"/>
                </a:lnTo>
                <a:lnTo>
                  <a:pt x="537" y="582"/>
                </a:lnTo>
                <a:lnTo>
                  <a:pt x="544" y="582"/>
                </a:lnTo>
                <a:lnTo>
                  <a:pt x="553" y="546"/>
                </a:lnTo>
                <a:lnTo>
                  <a:pt x="544" y="530"/>
                </a:lnTo>
                <a:lnTo>
                  <a:pt x="544" y="513"/>
                </a:lnTo>
                <a:lnTo>
                  <a:pt x="537" y="513"/>
                </a:lnTo>
                <a:lnTo>
                  <a:pt x="537" y="497"/>
                </a:lnTo>
                <a:lnTo>
                  <a:pt x="527" y="504"/>
                </a:lnTo>
                <a:lnTo>
                  <a:pt x="518" y="497"/>
                </a:lnTo>
                <a:lnTo>
                  <a:pt x="518" y="478"/>
                </a:lnTo>
                <a:lnTo>
                  <a:pt x="503" y="478"/>
                </a:lnTo>
                <a:lnTo>
                  <a:pt x="494" y="478"/>
                </a:lnTo>
                <a:lnTo>
                  <a:pt x="494" y="468"/>
                </a:lnTo>
                <a:lnTo>
                  <a:pt x="468" y="461"/>
                </a:lnTo>
                <a:lnTo>
                  <a:pt x="449" y="468"/>
                </a:lnTo>
                <a:lnTo>
                  <a:pt x="442" y="461"/>
                </a:lnTo>
                <a:lnTo>
                  <a:pt x="435" y="452"/>
                </a:lnTo>
                <a:lnTo>
                  <a:pt x="416" y="442"/>
                </a:lnTo>
                <a:lnTo>
                  <a:pt x="416" y="452"/>
                </a:lnTo>
                <a:lnTo>
                  <a:pt x="409" y="442"/>
                </a:lnTo>
                <a:lnTo>
                  <a:pt x="390" y="428"/>
                </a:lnTo>
                <a:lnTo>
                  <a:pt x="366" y="428"/>
                </a:lnTo>
                <a:lnTo>
                  <a:pt x="340" y="411"/>
                </a:lnTo>
                <a:lnTo>
                  <a:pt x="314" y="402"/>
                </a:lnTo>
                <a:lnTo>
                  <a:pt x="298" y="411"/>
                </a:lnTo>
                <a:lnTo>
                  <a:pt x="238" y="411"/>
                </a:lnTo>
                <a:lnTo>
                  <a:pt x="229" y="411"/>
                </a:lnTo>
                <a:lnTo>
                  <a:pt x="220" y="402"/>
                </a:lnTo>
                <a:lnTo>
                  <a:pt x="203" y="411"/>
                </a:lnTo>
                <a:lnTo>
                  <a:pt x="203" y="402"/>
                </a:lnTo>
                <a:lnTo>
                  <a:pt x="196" y="395"/>
                </a:lnTo>
                <a:lnTo>
                  <a:pt x="186" y="402"/>
                </a:lnTo>
                <a:lnTo>
                  <a:pt x="177" y="385"/>
                </a:lnTo>
                <a:lnTo>
                  <a:pt x="170" y="385"/>
                </a:lnTo>
                <a:lnTo>
                  <a:pt x="160" y="369"/>
                </a:lnTo>
                <a:lnTo>
                  <a:pt x="153" y="369"/>
                </a:lnTo>
                <a:lnTo>
                  <a:pt x="144" y="385"/>
                </a:lnTo>
                <a:lnTo>
                  <a:pt x="134" y="385"/>
                </a:lnTo>
                <a:lnTo>
                  <a:pt x="127" y="369"/>
                </a:lnTo>
                <a:lnTo>
                  <a:pt x="118" y="369"/>
                </a:lnTo>
                <a:lnTo>
                  <a:pt x="118" y="395"/>
                </a:lnTo>
                <a:lnTo>
                  <a:pt x="101" y="395"/>
                </a:lnTo>
                <a:lnTo>
                  <a:pt x="92" y="385"/>
                </a:lnTo>
                <a:lnTo>
                  <a:pt x="75" y="385"/>
                </a:lnTo>
                <a:lnTo>
                  <a:pt x="35" y="402"/>
                </a:lnTo>
                <a:lnTo>
                  <a:pt x="23" y="428"/>
                </a:lnTo>
                <a:lnTo>
                  <a:pt x="18" y="456"/>
                </a:lnTo>
                <a:lnTo>
                  <a:pt x="9" y="456"/>
                </a:lnTo>
                <a:lnTo>
                  <a:pt x="9" y="468"/>
                </a:lnTo>
                <a:lnTo>
                  <a:pt x="0" y="478"/>
                </a:lnTo>
                <a:lnTo>
                  <a:pt x="0" y="494"/>
                </a:lnTo>
                <a:lnTo>
                  <a:pt x="26" y="513"/>
                </a:lnTo>
                <a:lnTo>
                  <a:pt x="37" y="532"/>
                </a:lnTo>
                <a:lnTo>
                  <a:pt x="59" y="561"/>
                </a:lnTo>
                <a:lnTo>
                  <a:pt x="49" y="582"/>
                </a:lnTo>
                <a:lnTo>
                  <a:pt x="54" y="620"/>
                </a:lnTo>
                <a:lnTo>
                  <a:pt x="63" y="655"/>
                </a:lnTo>
                <a:lnTo>
                  <a:pt x="94" y="681"/>
                </a:lnTo>
                <a:lnTo>
                  <a:pt x="118" y="724"/>
                </a:lnTo>
                <a:lnTo>
                  <a:pt x="106" y="740"/>
                </a:lnTo>
                <a:lnTo>
                  <a:pt x="111" y="752"/>
                </a:lnTo>
                <a:lnTo>
                  <a:pt x="108" y="766"/>
                </a:lnTo>
                <a:lnTo>
                  <a:pt x="111" y="783"/>
                </a:lnTo>
                <a:lnTo>
                  <a:pt x="115" y="811"/>
                </a:lnTo>
                <a:lnTo>
                  <a:pt x="125" y="835"/>
                </a:lnTo>
                <a:lnTo>
                  <a:pt x="130" y="835"/>
                </a:lnTo>
                <a:lnTo>
                  <a:pt x="144" y="873"/>
                </a:lnTo>
                <a:lnTo>
                  <a:pt x="156" y="873"/>
                </a:lnTo>
                <a:lnTo>
                  <a:pt x="165" y="875"/>
                </a:lnTo>
                <a:lnTo>
                  <a:pt x="165" y="894"/>
                </a:lnTo>
                <a:lnTo>
                  <a:pt x="151" y="897"/>
                </a:lnTo>
                <a:lnTo>
                  <a:pt x="144" y="904"/>
                </a:lnTo>
                <a:lnTo>
                  <a:pt x="156" y="939"/>
                </a:lnTo>
                <a:lnTo>
                  <a:pt x="167" y="946"/>
                </a:lnTo>
                <a:lnTo>
                  <a:pt x="186" y="958"/>
                </a:lnTo>
                <a:lnTo>
                  <a:pt x="220" y="968"/>
                </a:lnTo>
                <a:lnTo>
                  <a:pt x="229" y="989"/>
                </a:lnTo>
                <a:lnTo>
                  <a:pt x="215" y="998"/>
                </a:lnTo>
                <a:lnTo>
                  <a:pt x="208" y="1027"/>
                </a:lnTo>
                <a:lnTo>
                  <a:pt x="196" y="1048"/>
                </a:lnTo>
                <a:lnTo>
                  <a:pt x="184" y="1072"/>
                </a:lnTo>
                <a:lnTo>
                  <a:pt x="186" y="1084"/>
                </a:lnTo>
                <a:lnTo>
                  <a:pt x="170" y="1093"/>
                </a:lnTo>
                <a:lnTo>
                  <a:pt x="118" y="1181"/>
                </a:lnTo>
                <a:lnTo>
                  <a:pt x="118" y="1202"/>
                </a:lnTo>
                <a:lnTo>
                  <a:pt x="134" y="1202"/>
                </a:lnTo>
                <a:lnTo>
                  <a:pt x="153" y="1195"/>
                </a:lnTo>
                <a:lnTo>
                  <a:pt x="160" y="1195"/>
                </a:lnTo>
                <a:lnTo>
                  <a:pt x="160" y="1202"/>
                </a:lnTo>
                <a:lnTo>
                  <a:pt x="153" y="1221"/>
                </a:lnTo>
                <a:lnTo>
                  <a:pt x="153" y="1228"/>
                </a:lnTo>
                <a:lnTo>
                  <a:pt x="170" y="1228"/>
                </a:lnTo>
                <a:lnTo>
                  <a:pt x="177" y="1238"/>
                </a:lnTo>
                <a:lnTo>
                  <a:pt x="196" y="1247"/>
                </a:lnTo>
                <a:lnTo>
                  <a:pt x="203" y="1238"/>
                </a:lnTo>
                <a:lnTo>
                  <a:pt x="220" y="1238"/>
                </a:lnTo>
                <a:lnTo>
                  <a:pt x="229" y="1238"/>
                </a:lnTo>
                <a:lnTo>
                  <a:pt x="238" y="1247"/>
                </a:lnTo>
                <a:lnTo>
                  <a:pt x="246" y="1247"/>
                </a:lnTo>
                <a:lnTo>
                  <a:pt x="246" y="1264"/>
                </a:lnTo>
                <a:lnTo>
                  <a:pt x="238" y="1264"/>
                </a:lnTo>
                <a:lnTo>
                  <a:pt x="220" y="1264"/>
                </a:lnTo>
                <a:lnTo>
                  <a:pt x="203" y="1264"/>
                </a:lnTo>
                <a:lnTo>
                  <a:pt x="177" y="1264"/>
                </a:lnTo>
                <a:lnTo>
                  <a:pt x="177" y="1273"/>
                </a:lnTo>
                <a:lnTo>
                  <a:pt x="170" y="1273"/>
                </a:lnTo>
                <a:lnTo>
                  <a:pt x="170" y="1264"/>
                </a:lnTo>
                <a:lnTo>
                  <a:pt x="160" y="1273"/>
                </a:lnTo>
                <a:lnTo>
                  <a:pt x="160" y="1280"/>
                </a:lnTo>
                <a:lnTo>
                  <a:pt x="160" y="1290"/>
                </a:lnTo>
                <a:lnTo>
                  <a:pt x="160" y="1297"/>
                </a:lnTo>
                <a:lnTo>
                  <a:pt x="153" y="1297"/>
                </a:lnTo>
                <a:lnTo>
                  <a:pt x="144" y="1280"/>
                </a:lnTo>
                <a:lnTo>
                  <a:pt x="134" y="1290"/>
                </a:lnTo>
                <a:lnTo>
                  <a:pt x="134" y="1297"/>
                </a:lnTo>
                <a:lnTo>
                  <a:pt x="134" y="1306"/>
                </a:lnTo>
                <a:lnTo>
                  <a:pt x="134" y="1323"/>
                </a:lnTo>
                <a:lnTo>
                  <a:pt x="144" y="1332"/>
                </a:lnTo>
                <a:lnTo>
                  <a:pt x="144" y="1349"/>
                </a:lnTo>
                <a:lnTo>
                  <a:pt x="127" y="1365"/>
                </a:lnTo>
                <a:lnTo>
                  <a:pt x="127" y="1375"/>
                </a:lnTo>
                <a:lnTo>
                  <a:pt x="134" y="1382"/>
                </a:lnTo>
                <a:lnTo>
                  <a:pt x="127" y="1398"/>
                </a:lnTo>
                <a:lnTo>
                  <a:pt x="134" y="1417"/>
                </a:lnTo>
                <a:lnTo>
                  <a:pt x="134" y="1434"/>
                </a:lnTo>
                <a:lnTo>
                  <a:pt x="153" y="1441"/>
                </a:lnTo>
                <a:lnTo>
                  <a:pt x="160" y="1451"/>
                </a:lnTo>
                <a:lnTo>
                  <a:pt x="160" y="1460"/>
                </a:lnTo>
                <a:lnTo>
                  <a:pt x="153" y="1467"/>
                </a:lnTo>
                <a:lnTo>
                  <a:pt x="144" y="1460"/>
                </a:lnTo>
                <a:lnTo>
                  <a:pt x="134" y="1451"/>
                </a:lnTo>
                <a:lnTo>
                  <a:pt x="127" y="1460"/>
                </a:lnTo>
                <a:lnTo>
                  <a:pt x="127" y="1467"/>
                </a:lnTo>
                <a:lnTo>
                  <a:pt x="134" y="1477"/>
                </a:lnTo>
                <a:lnTo>
                  <a:pt x="144" y="1477"/>
                </a:lnTo>
                <a:lnTo>
                  <a:pt x="134" y="1493"/>
                </a:lnTo>
                <a:lnTo>
                  <a:pt x="127" y="149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3" name="Freeform 488">
            <a:extLst>
              <a:ext uri="{FF2B5EF4-FFF2-40B4-BE49-F238E27FC236}">
                <a16:creationId xmlns:a16="http://schemas.microsoft.com/office/drawing/2014/main" id="{36074A96-EEDB-49FE-90CB-C1BD750A285E}"/>
              </a:ext>
            </a:extLst>
          </p:cNvPr>
          <p:cNvSpPr>
            <a:spLocks/>
          </p:cNvSpPr>
          <p:nvPr/>
        </p:nvSpPr>
        <p:spPr bwMode="auto">
          <a:xfrm>
            <a:off x="2456912" y="2002040"/>
            <a:ext cx="219089" cy="166544"/>
          </a:xfrm>
          <a:custGeom>
            <a:avLst/>
            <a:gdLst>
              <a:gd name="T0" fmla="*/ 76 w 246"/>
              <a:gd name="T1" fmla="*/ 151 h 187"/>
              <a:gd name="T2" fmla="*/ 95 w 246"/>
              <a:gd name="T3" fmla="*/ 151 h 187"/>
              <a:gd name="T4" fmla="*/ 102 w 246"/>
              <a:gd name="T5" fmla="*/ 144 h 187"/>
              <a:gd name="T6" fmla="*/ 128 w 246"/>
              <a:gd name="T7" fmla="*/ 151 h 187"/>
              <a:gd name="T8" fmla="*/ 135 w 246"/>
              <a:gd name="T9" fmla="*/ 170 h 187"/>
              <a:gd name="T10" fmla="*/ 161 w 246"/>
              <a:gd name="T11" fmla="*/ 170 h 187"/>
              <a:gd name="T12" fmla="*/ 187 w 246"/>
              <a:gd name="T13" fmla="*/ 177 h 187"/>
              <a:gd name="T14" fmla="*/ 206 w 246"/>
              <a:gd name="T15" fmla="*/ 177 h 187"/>
              <a:gd name="T16" fmla="*/ 230 w 246"/>
              <a:gd name="T17" fmla="*/ 161 h 187"/>
              <a:gd name="T18" fmla="*/ 213 w 246"/>
              <a:gd name="T19" fmla="*/ 151 h 187"/>
              <a:gd name="T20" fmla="*/ 223 w 246"/>
              <a:gd name="T21" fmla="*/ 135 h 187"/>
              <a:gd name="T22" fmla="*/ 239 w 246"/>
              <a:gd name="T23" fmla="*/ 151 h 187"/>
              <a:gd name="T24" fmla="*/ 246 w 246"/>
              <a:gd name="T25" fmla="*/ 135 h 187"/>
              <a:gd name="T26" fmla="*/ 223 w 246"/>
              <a:gd name="T27" fmla="*/ 118 h 187"/>
              <a:gd name="T28" fmla="*/ 213 w 246"/>
              <a:gd name="T29" fmla="*/ 82 h 187"/>
              <a:gd name="T30" fmla="*/ 213 w 246"/>
              <a:gd name="T31" fmla="*/ 59 h 187"/>
              <a:gd name="T32" fmla="*/ 230 w 246"/>
              <a:gd name="T33" fmla="*/ 33 h 187"/>
              <a:gd name="T34" fmla="*/ 223 w 246"/>
              <a:gd name="T35" fmla="*/ 7 h 187"/>
              <a:gd name="T36" fmla="*/ 178 w 246"/>
              <a:gd name="T37" fmla="*/ 7 h 187"/>
              <a:gd name="T38" fmla="*/ 161 w 246"/>
              <a:gd name="T39" fmla="*/ 0 h 187"/>
              <a:gd name="T40" fmla="*/ 135 w 246"/>
              <a:gd name="T41" fmla="*/ 7 h 187"/>
              <a:gd name="T42" fmla="*/ 119 w 246"/>
              <a:gd name="T43" fmla="*/ 0 h 187"/>
              <a:gd name="T44" fmla="*/ 102 w 246"/>
              <a:gd name="T45" fmla="*/ 0 h 187"/>
              <a:gd name="T46" fmla="*/ 86 w 246"/>
              <a:gd name="T47" fmla="*/ 7 h 187"/>
              <a:gd name="T48" fmla="*/ 60 w 246"/>
              <a:gd name="T49" fmla="*/ 7 h 187"/>
              <a:gd name="T50" fmla="*/ 43 w 246"/>
              <a:gd name="T51" fmla="*/ 7 h 187"/>
              <a:gd name="T52" fmla="*/ 33 w 246"/>
              <a:gd name="T53" fmla="*/ 16 h 187"/>
              <a:gd name="T54" fmla="*/ 26 w 246"/>
              <a:gd name="T55" fmla="*/ 26 h 187"/>
              <a:gd name="T56" fmla="*/ 7 w 246"/>
              <a:gd name="T57" fmla="*/ 26 h 187"/>
              <a:gd name="T58" fmla="*/ 0 w 246"/>
              <a:gd name="T59" fmla="*/ 42 h 187"/>
              <a:gd name="T60" fmla="*/ 0 w 246"/>
              <a:gd name="T61" fmla="*/ 59 h 187"/>
              <a:gd name="T62" fmla="*/ 17 w 246"/>
              <a:gd name="T63" fmla="*/ 66 h 187"/>
              <a:gd name="T64" fmla="*/ 7 w 246"/>
              <a:gd name="T65" fmla="*/ 75 h 187"/>
              <a:gd name="T66" fmla="*/ 7 w 246"/>
              <a:gd name="T67" fmla="*/ 109 h 187"/>
              <a:gd name="T68" fmla="*/ 33 w 246"/>
              <a:gd name="T69" fmla="*/ 125 h 187"/>
              <a:gd name="T70" fmla="*/ 43 w 246"/>
              <a:gd name="T71" fmla="*/ 109 h 187"/>
              <a:gd name="T72" fmla="*/ 60 w 246"/>
              <a:gd name="T73" fmla="*/ 118 h 187"/>
              <a:gd name="T74" fmla="*/ 50 w 246"/>
              <a:gd name="T75" fmla="*/ 151 h 187"/>
              <a:gd name="T76" fmla="*/ 43 w 246"/>
              <a:gd name="T77" fmla="*/ 161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46" h="187">
                <a:moveTo>
                  <a:pt x="43" y="161"/>
                </a:moveTo>
                <a:lnTo>
                  <a:pt x="76" y="151"/>
                </a:lnTo>
                <a:lnTo>
                  <a:pt x="86" y="144"/>
                </a:lnTo>
                <a:lnTo>
                  <a:pt x="95" y="151"/>
                </a:lnTo>
                <a:lnTo>
                  <a:pt x="102" y="151"/>
                </a:lnTo>
                <a:lnTo>
                  <a:pt x="102" y="144"/>
                </a:lnTo>
                <a:lnTo>
                  <a:pt x="119" y="151"/>
                </a:lnTo>
                <a:lnTo>
                  <a:pt x="128" y="151"/>
                </a:lnTo>
                <a:lnTo>
                  <a:pt x="128" y="161"/>
                </a:lnTo>
                <a:lnTo>
                  <a:pt x="135" y="170"/>
                </a:lnTo>
                <a:lnTo>
                  <a:pt x="147" y="170"/>
                </a:lnTo>
                <a:lnTo>
                  <a:pt x="161" y="170"/>
                </a:lnTo>
                <a:lnTo>
                  <a:pt x="171" y="187"/>
                </a:lnTo>
                <a:lnTo>
                  <a:pt x="187" y="177"/>
                </a:lnTo>
                <a:lnTo>
                  <a:pt x="206" y="170"/>
                </a:lnTo>
                <a:lnTo>
                  <a:pt x="206" y="177"/>
                </a:lnTo>
                <a:lnTo>
                  <a:pt x="223" y="177"/>
                </a:lnTo>
                <a:lnTo>
                  <a:pt x="230" y="161"/>
                </a:lnTo>
                <a:lnTo>
                  <a:pt x="223" y="161"/>
                </a:lnTo>
                <a:lnTo>
                  <a:pt x="213" y="151"/>
                </a:lnTo>
                <a:lnTo>
                  <a:pt x="213" y="144"/>
                </a:lnTo>
                <a:lnTo>
                  <a:pt x="223" y="135"/>
                </a:lnTo>
                <a:lnTo>
                  <a:pt x="230" y="144"/>
                </a:lnTo>
                <a:lnTo>
                  <a:pt x="239" y="151"/>
                </a:lnTo>
                <a:lnTo>
                  <a:pt x="246" y="144"/>
                </a:lnTo>
                <a:lnTo>
                  <a:pt x="246" y="135"/>
                </a:lnTo>
                <a:lnTo>
                  <a:pt x="239" y="125"/>
                </a:lnTo>
                <a:lnTo>
                  <a:pt x="223" y="118"/>
                </a:lnTo>
                <a:lnTo>
                  <a:pt x="223" y="101"/>
                </a:lnTo>
                <a:lnTo>
                  <a:pt x="213" y="82"/>
                </a:lnTo>
                <a:lnTo>
                  <a:pt x="223" y="66"/>
                </a:lnTo>
                <a:lnTo>
                  <a:pt x="213" y="59"/>
                </a:lnTo>
                <a:lnTo>
                  <a:pt x="213" y="49"/>
                </a:lnTo>
                <a:lnTo>
                  <a:pt x="230" y="33"/>
                </a:lnTo>
                <a:lnTo>
                  <a:pt x="230" y="16"/>
                </a:lnTo>
                <a:lnTo>
                  <a:pt x="223" y="7"/>
                </a:lnTo>
                <a:lnTo>
                  <a:pt x="213" y="7"/>
                </a:lnTo>
                <a:lnTo>
                  <a:pt x="178" y="7"/>
                </a:lnTo>
                <a:lnTo>
                  <a:pt x="171" y="7"/>
                </a:lnTo>
                <a:lnTo>
                  <a:pt x="161" y="0"/>
                </a:lnTo>
                <a:lnTo>
                  <a:pt x="154" y="0"/>
                </a:lnTo>
                <a:lnTo>
                  <a:pt x="135" y="7"/>
                </a:lnTo>
                <a:lnTo>
                  <a:pt x="135" y="0"/>
                </a:lnTo>
                <a:lnTo>
                  <a:pt x="119" y="0"/>
                </a:lnTo>
                <a:lnTo>
                  <a:pt x="112" y="0"/>
                </a:lnTo>
                <a:lnTo>
                  <a:pt x="102" y="0"/>
                </a:lnTo>
                <a:lnTo>
                  <a:pt x="95" y="0"/>
                </a:lnTo>
                <a:lnTo>
                  <a:pt x="86" y="7"/>
                </a:lnTo>
                <a:lnTo>
                  <a:pt x="76" y="7"/>
                </a:lnTo>
                <a:lnTo>
                  <a:pt x="60" y="7"/>
                </a:lnTo>
                <a:lnTo>
                  <a:pt x="50" y="7"/>
                </a:lnTo>
                <a:lnTo>
                  <a:pt x="43" y="7"/>
                </a:lnTo>
                <a:lnTo>
                  <a:pt x="33" y="7"/>
                </a:lnTo>
                <a:lnTo>
                  <a:pt x="33" y="16"/>
                </a:lnTo>
                <a:lnTo>
                  <a:pt x="33" y="26"/>
                </a:lnTo>
                <a:lnTo>
                  <a:pt x="26" y="26"/>
                </a:lnTo>
                <a:lnTo>
                  <a:pt x="17" y="26"/>
                </a:lnTo>
                <a:lnTo>
                  <a:pt x="7" y="26"/>
                </a:lnTo>
                <a:lnTo>
                  <a:pt x="0" y="33"/>
                </a:lnTo>
                <a:lnTo>
                  <a:pt x="0" y="42"/>
                </a:lnTo>
                <a:lnTo>
                  <a:pt x="0" y="49"/>
                </a:lnTo>
                <a:lnTo>
                  <a:pt x="0" y="59"/>
                </a:lnTo>
                <a:lnTo>
                  <a:pt x="17" y="59"/>
                </a:lnTo>
                <a:lnTo>
                  <a:pt x="17" y="66"/>
                </a:lnTo>
                <a:lnTo>
                  <a:pt x="17" y="75"/>
                </a:lnTo>
                <a:lnTo>
                  <a:pt x="7" y="75"/>
                </a:lnTo>
                <a:lnTo>
                  <a:pt x="7" y="82"/>
                </a:lnTo>
                <a:lnTo>
                  <a:pt x="7" y="109"/>
                </a:lnTo>
                <a:lnTo>
                  <a:pt x="26" y="125"/>
                </a:lnTo>
                <a:lnTo>
                  <a:pt x="33" y="125"/>
                </a:lnTo>
                <a:lnTo>
                  <a:pt x="33" y="118"/>
                </a:lnTo>
                <a:lnTo>
                  <a:pt x="43" y="109"/>
                </a:lnTo>
                <a:lnTo>
                  <a:pt x="50" y="109"/>
                </a:lnTo>
                <a:lnTo>
                  <a:pt x="60" y="118"/>
                </a:lnTo>
                <a:lnTo>
                  <a:pt x="50" y="135"/>
                </a:lnTo>
                <a:lnTo>
                  <a:pt x="50" y="151"/>
                </a:lnTo>
                <a:lnTo>
                  <a:pt x="50" y="161"/>
                </a:lnTo>
                <a:lnTo>
                  <a:pt x="43" y="16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4" name="Freeform 489">
            <a:extLst>
              <a:ext uri="{FF2B5EF4-FFF2-40B4-BE49-F238E27FC236}">
                <a16:creationId xmlns:a16="http://schemas.microsoft.com/office/drawing/2014/main" id="{1CB98BB9-8953-4ACD-B86F-96B60DA2BD0D}"/>
              </a:ext>
            </a:extLst>
          </p:cNvPr>
          <p:cNvSpPr>
            <a:spLocks/>
          </p:cNvSpPr>
          <p:nvPr/>
        </p:nvSpPr>
        <p:spPr bwMode="auto">
          <a:xfrm>
            <a:off x="2341133" y="2130285"/>
            <a:ext cx="351789" cy="181684"/>
          </a:xfrm>
          <a:custGeom>
            <a:avLst/>
            <a:gdLst>
              <a:gd name="T0" fmla="*/ 171 w 395"/>
              <a:gd name="T1" fmla="*/ 33 h 204"/>
              <a:gd name="T2" fmla="*/ 171 w 395"/>
              <a:gd name="T3" fmla="*/ 59 h 204"/>
              <a:gd name="T4" fmla="*/ 171 w 395"/>
              <a:gd name="T5" fmla="*/ 85 h 204"/>
              <a:gd name="T6" fmla="*/ 154 w 395"/>
              <a:gd name="T7" fmla="*/ 102 h 204"/>
              <a:gd name="T8" fmla="*/ 128 w 395"/>
              <a:gd name="T9" fmla="*/ 85 h 204"/>
              <a:gd name="T10" fmla="*/ 121 w 395"/>
              <a:gd name="T11" fmla="*/ 59 h 204"/>
              <a:gd name="T12" fmla="*/ 95 w 395"/>
              <a:gd name="T13" fmla="*/ 43 h 204"/>
              <a:gd name="T14" fmla="*/ 85 w 395"/>
              <a:gd name="T15" fmla="*/ 26 h 204"/>
              <a:gd name="T16" fmla="*/ 52 w 395"/>
              <a:gd name="T17" fmla="*/ 33 h 204"/>
              <a:gd name="T18" fmla="*/ 36 w 395"/>
              <a:gd name="T19" fmla="*/ 43 h 204"/>
              <a:gd name="T20" fmla="*/ 26 w 395"/>
              <a:gd name="T21" fmla="*/ 78 h 204"/>
              <a:gd name="T22" fmla="*/ 10 w 395"/>
              <a:gd name="T23" fmla="*/ 109 h 204"/>
              <a:gd name="T24" fmla="*/ 26 w 395"/>
              <a:gd name="T25" fmla="*/ 154 h 204"/>
              <a:gd name="T26" fmla="*/ 52 w 395"/>
              <a:gd name="T27" fmla="*/ 144 h 204"/>
              <a:gd name="T28" fmla="*/ 69 w 395"/>
              <a:gd name="T29" fmla="*/ 144 h 204"/>
              <a:gd name="T30" fmla="*/ 102 w 395"/>
              <a:gd name="T31" fmla="*/ 144 h 204"/>
              <a:gd name="T32" fmla="*/ 147 w 395"/>
              <a:gd name="T33" fmla="*/ 135 h 204"/>
              <a:gd name="T34" fmla="*/ 190 w 395"/>
              <a:gd name="T35" fmla="*/ 135 h 204"/>
              <a:gd name="T36" fmla="*/ 213 w 395"/>
              <a:gd name="T37" fmla="*/ 154 h 204"/>
              <a:gd name="T38" fmla="*/ 249 w 395"/>
              <a:gd name="T39" fmla="*/ 161 h 204"/>
              <a:gd name="T40" fmla="*/ 284 w 395"/>
              <a:gd name="T41" fmla="*/ 196 h 204"/>
              <a:gd name="T42" fmla="*/ 317 w 395"/>
              <a:gd name="T43" fmla="*/ 204 h 204"/>
              <a:gd name="T44" fmla="*/ 334 w 395"/>
              <a:gd name="T45" fmla="*/ 204 h 204"/>
              <a:gd name="T46" fmla="*/ 350 w 395"/>
              <a:gd name="T47" fmla="*/ 204 h 204"/>
              <a:gd name="T48" fmla="*/ 376 w 395"/>
              <a:gd name="T49" fmla="*/ 187 h 204"/>
              <a:gd name="T50" fmla="*/ 360 w 395"/>
              <a:gd name="T51" fmla="*/ 170 h 204"/>
              <a:gd name="T52" fmla="*/ 393 w 395"/>
              <a:gd name="T53" fmla="*/ 154 h 204"/>
              <a:gd name="T54" fmla="*/ 386 w 395"/>
              <a:gd name="T55" fmla="*/ 135 h 204"/>
              <a:gd name="T56" fmla="*/ 376 w 395"/>
              <a:gd name="T57" fmla="*/ 102 h 204"/>
              <a:gd name="T58" fmla="*/ 369 w 395"/>
              <a:gd name="T59" fmla="*/ 95 h 204"/>
              <a:gd name="T60" fmla="*/ 353 w 395"/>
              <a:gd name="T61" fmla="*/ 78 h 204"/>
              <a:gd name="T62" fmla="*/ 369 w 395"/>
              <a:gd name="T63" fmla="*/ 59 h 204"/>
              <a:gd name="T64" fmla="*/ 360 w 395"/>
              <a:gd name="T65" fmla="*/ 43 h 204"/>
              <a:gd name="T66" fmla="*/ 353 w 395"/>
              <a:gd name="T67" fmla="*/ 43 h 204"/>
              <a:gd name="T68" fmla="*/ 343 w 395"/>
              <a:gd name="T69" fmla="*/ 33 h 204"/>
              <a:gd name="T70" fmla="*/ 334 w 395"/>
              <a:gd name="T71" fmla="*/ 33 h 204"/>
              <a:gd name="T72" fmla="*/ 317 w 395"/>
              <a:gd name="T73" fmla="*/ 33 h 204"/>
              <a:gd name="T74" fmla="*/ 291 w 395"/>
              <a:gd name="T75" fmla="*/ 26 h 204"/>
              <a:gd name="T76" fmla="*/ 265 w 395"/>
              <a:gd name="T77" fmla="*/ 26 h 204"/>
              <a:gd name="T78" fmla="*/ 256 w 395"/>
              <a:gd name="T79" fmla="*/ 7 h 204"/>
              <a:gd name="T80" fmla="*/ 232 w 395"/>
              <a:gd name="T81" fmla="*/ 0 h 204"/>
              <a:gd name="T82" fmla="*/ 223 w 395"/>
              <a:gd name="T83" fmla="*/ 7 h 204"/>
              <a:gd name="T84" fmla="*/ 206 w 395"/>
              <a:gd name="T85" fmla="*/ 7 h 204"/>
              <a:gd name="T86" fmla="*/ 171 w 395"/>
              <a:gd name="T87" fmla="*/ 2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395" h="204">
                <a:moveTo>
                  <a:pt x="171" y="26"/>
                </a:moveTo>
                <a:lnTo>
                  <a:pt x="171" y="33"/>
                </a:lnTo>
                <a:lnTo>
                  <a:pt x="171" y="43"/>
                </a:lnTo>
                <a:lnTo>
                  <a:pt x="171" y="59"/>
                </a:lnTo>
                <a:lnTo>
                  <a:pt x="171" y="69"/>
                </a:lnTo>
                <a:lnTo>
                  <a:pt x="171" y="85"/>
                </a:lnTo>
                <a:lnTo>
                  <a:pt x="163" y="95"/>
                </a:lnTo>
                <a:lnTo>
                  <a:pt x="154" y="102"/>
                </a:lnTo>
                <a:lnTo>
                  <a:pt x="147" y="102"/>
                </a:lnTo>
                <a:lnTo>
                  <a:pt x="128" y="85"/>
                </a:lnTo>
                <a:lnTo>
                  <a:pt x="121" y="78"/>
                </a:lnTo>
                <a:lnTo>
                  <a:pt x="121" y="59"/>
                </a:lnTo>
                <a:lnTo>
                  <a:pt x="102" y="43"/>
                </a:lnTo>
                <a:lnTo>
                  <a:pt x="95" y="43"/>
                </a:lnTo>
                <a:lnTo>
                  <a:pt x="85" y="33"/>
                </a:lnTo>
                <a:lnTo>
                  <a:pt x="85" y="26"/>
                </a:lnTo>
                <a:lnTo>
                  <a:pt x="69" y="26"/>
                </a:lnTo>
                <a:lnTo>
                  <a:pt x="52" y="33"/>
                </a:lnTo>
                <a:lnTo>
                  <a:pt x="43" y="43"/>
                </a:lnTo>
                <a:lnTo>
                  <a:pt x="36" y="43"/>
                </a:lnTo>
                <a:lnTo>
                  <a:pt x="26" y="59"/>
                </a:lnTo>
                <a:lnTo>
                  <a:pt x="26" y="78"/>
                </a:lnTo>
                <a:lnTo>
                  <a:pt x="19" y="95"/>
                </a:lnTo>
                <a:lnTo>
                  <a:pt x="10" y="109"/>
                </a:lnTo>
                <a:lnTo>
                  <a:pt x="0" y="161"/>
                </a:lnTo>
                <a:lnTo>
                  <a:pt x="26" y="154"/>
                </a:lnTo>
                <a:lnTo>
                  <a:pt x="43" y="154"/>
                </a:lnTo>
                <a:lnTo>
                  <a:pt x="52" y="144"/>
                </a:lnTo>
                <a:lnTo>
                  <a:pt x="59" y="144"/>
                </a:lnTo>
                <a:lnTo>
                  <a:pt x="69" y="144"/>
                </a:lnTo>
                <a:lnTo>
                  <a:pt x="95" y="144"/>
                </a:lnTo>
                <a:lnTo>
                  <a:pt x="102" y="144"/>
                </a:lnTo>
                <a:lnTo>
                  <a:pt x="121" y="135"/>
                </a:lnTo>
                <a:lnTo>
                  <a:pt x="147" y="135"/>
                </a:lnTo>
                <a:lnTo>
                  <a:pt x="171" y="144"/>
                </a:lnTo>
                <a:lnTo>
                  <a:pt x="190" y="135"/>
                </a:lnTo>
                <a:lnTo>
                  <a:pt x="197" y="144"/>
                </a:lnTo>
                <a:lnTo>
                  <a:pt x="213" y="154"/>
                </a:lnTo>
                <a:lnTo>
                  <a:pt x="242" y="161"/>
                </a:lnTo>
                <a:lnTo>
                  <a:pt x="249" y="161"/>
                </a:lnTo>
                <a:lnTo>
                  <a:pt x="256" y="178"/>
                </a:lnTo>
                <a:lnTo>
                  <a:pt x="284" y="196"/>
                </a:lnTo>
                <a:lnTo>
                  <a:pt x="291" y="204"/>
                </a:lnTo>
                <a:lnTo>
                  <a:pt x="317" y="204"/>
                </a:lnTo>
                <a:lnTo>
                  <a:pt x="324" y="204"/>
                </a:lnTo>
                <a:lnTo>
                  <a:pt x="334" y="204"/>
                </a:lnTo>
                <a:lnTo>
                  <a:pt x="343" y="196"/>
                </a:lnTo>
                <a:lnTo>
                  <a:pt x="350" y="204"/>
                </a:lnTo>
                <a:lnTo>
                  <a:pt x="369" y="196"/>
                </a:lnTo>
                <a:lnTo>
                  <a:pt x="376" y="187"/>
                </a:lnTo>
                <a:lnTo>
                  <a:pt x="369" y="178"/>
                </a:lnTo>
                <a:lnTo>
                  <a:pt x="360" y="170"/>
                </a:lnTo>
                <a:lnTo>
                  <a:pt x="376" y="161"/>
                </a:lnTo>
                <a:lnTo>
                  <a:pt x="393" y="154"/>
                </a:lnTo>
                <a:lnTo>
                  <a:pt x="395" y="154"/>
                </a:lnTo>
                <a:lnTo>
                  <a:pt x="386" y="135"/>
                </a:lnTo>
                <a:lnTo>
                  <a:pt x="386" y="118"/>
                </a:lnTo>
                <a:lnTo>
                  <a:pt x="376" y="102"/>
                </a:lnTo>
                <a:lnTo>
                  <a:pt x="376" y="95"/>
                </a:lnTo>
                <a:lnTo>
                  <a:pt x="369" y="95"/>
                </a:lnTo>
                <a:lnTo>
                  <a:pt x="360" y="95"/>
                </a:lnTo>
                <a:lnTo>
                  <a:pt x="353" y="78"/>
                </a:lnTo>
                <a:lnTo>
                  <a:pt x="369" y="78"/>
                </a:lnTo>
                <a:lnTo>
                  <a:pt x="369" y="59"/>
                </a:lnTo>
                <a:lnTo>
                  <a:pt x="369" y="43"/>
                </a:lnTo>
                <a:lnTo>
                  <a:pt x="360" y="43"/>
                </a:lnTo>
                <a:lnTo>
                  <a:pt x="353" y="50"/>
                </a:lnTo>
                <a:lnTo>
                  <a:pt x="353" y="43"/>
                </a:lnTo>
                <a:lnTo>
                  <a:pt x="343" y="43"/>
                </a:lnTo>
                <a:lnTo>
                  <a:pt x="343" y="33"/>
                </a:lnTo>
                <a:lnTo>
                  <a:pt x="350" y="33"/>
                </a:lnTo>
                <a:lnTo>
                  <a:pt x="334" y="33"/>
                </a:lnTo>
                <a:lnTo>
                  <a:pt x="334" y="26"/>
                </a:lnTo>
                <a:lnTo>
                  <a:pt x="317" y="33"/>
                </a:lnTo>
                <a:lnTo>
                  <a:pt x="298" y="43"/>
                </a:lnTo>
                <a:lnTo>
                  <a:pt x="291" y="26"/>
                </a:lnTo>
                <a:lnTo>
                  <a:pt x="275" y="26"/>
                </a:lnTo>
                <a:lnTo>
                  <a:pt x="265" y="26"/>
                </a:lnTo>
                <a:lnTo>
                  <a:pt x="256" y="17"/>
                </a:lnTo>
                <a:lnTo>
                  <a:pt x="256" y="7"/>
                </a:lnTo>
                <a:lnTo>
                  <a:pt x="249" y="7"/>
                </a:lnTo>
                <a:lnTo>
                  <a:pt x="232" y="0"/>
                </a:lnTo>
                <a:lnTo>
                  <a:pt x="232" y="7"/>
                </a:lnTo>
                <a:lnTo>
                  <a:pt x="223" y="7"/>
                </a:lnTo>
                <a:lnTo>
                  <a:pt x="213" y="0"/>
                </a:lnTo>
                <a:lnTo>
                  <a:pt x="206" y="7"/>
                </a:lnTo>
                <a:lnTo>
                  <a:pt x="171" y="17"/>
                </a:lnTo>
                <a:lnTo>
                  <a:pt x="171" y="2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5" name="Freeform 490">
            <a:extLst>
              <a:ext uri="{FF2B5EF4-FFF2-40B4-BE49-F238E27FC236}">
                <a16:creationId xmlns:a16="http://schemas.microsoft.com/office/drawing/2014/main" id="{DDEF4E51-2B38-4996-9FE2-2144072CD2F1}"/>
              </a:ext>
            </a:extLst>
          </p:cNvPr>
          <p:cNvSpPr>
            <a:spLocks/>
          </p:cNvSpPr>
          <p:nvPr/>
        </p:nvSpPr>
        <p:spPr bwMode="auto">
          <a:xfrm>
            <a:off x="2341134" y="2250520"/>
            <a:ext cx="297462" cy="212855"/>
          </a:xfrm>
          <a:custGeom>
            <a:avLst/>
            <a:gdLst>
              <a:gd name="T0" fmla="*/ 298 w 334"/>
              <a:gd name="T1" fmla="*/ 104 h 239"/>
              <a:gd name="T2" fmla="*/ 317 w 334"/>
              <a:gd name="T3" fmla="*/ 130 h 239"/>
              <a:gd name="T4" fmla="*/ 291 w 334"/>
              <a:gd name="T5" fmla="*/ 137 h 239"/>
              <a:gd name="T6" fmla="*/ 256 w 334"/>
              <a:gd name="T7" fmla="*/ 156 h 239"/>
              <a:gd name="T8" fmla="*/ 256 w 334"/>
              <a:gd name="T9" fmla="*/ 189 h 239"/>
              <a:gd name="T10" fmla="*/ 242 w 334"/>
              <a:gd name="T11" fmla="*/ 206 h 239"/>
              <a:gd name="T12" fmla="*/ 232 w 334"/>
              <a:gd name="T13" fmla="*/ 206 h 239"/>
              <a:gd name="T14" fmla="*/ 206 w 334"/>
              <a:gd name="T15" fmla="*/ 215 h 239"/>
              <a:gd name="T16" fmla="*/ 197 w 334"/>
              <a:gd name="T17" fmla="*/ 215 h 239"/>
              <a:gd name="T18" fmla="*/ 180 w 334"/>
              <a:gd name="T19" fmla="*/ 239 h 239"/>
              <a:gd name="T20" fmla="*/ 163 w 334"/>
              <a:gd name="T21" fmla="*/ 232 h 239"/>
              <a:gd name="T22" fmla="*/ 128 w 334"/>
              <a:gd name="T23" fmla="*/ 215 h 239"/>
              <a:gd name="T24" fmla="*/ 102 w 334"/>
              <a:gd name="T25" fmla="*/ 196 h 239"/>
              <a:gd name="T26" fmla="*/ 95 w 334"/>
              <a:gd name="T27" fmla="*/ 189 h 239"/>
              <a:gd name="T28" fmla="*/ 102 w 334"/>
              <a:gd name="T29" fmla="*/ 170 h 239"/>
              <a:gd name="T30" fmla="*/ 95 w 334"/>
              <a:gd name="T31" fmla="*/ 156 h 239"/>
              <a:gd name="T32" fmla="*/ 85 w 334"/>
              <a:gd name="T33" fmla="*/ 137 h 239"/>
              <a:gd name="T34" fmla="*/ 78 w 334"/>
              <a:gd name="T35" fmla="*/ 147 h 239"/>
              <a:gd name="T36" fmla="*/ 52 w 334"/>
              <a:gd name="T37" fmla="*/ 147 h 239"/>
              <a:gd name="T38" fmla="*/ 36 w 334"/>
              <a:gd name="T39" fmla="*/ 137 h 239"/>
              <a:gd name="T40" fmla="*/ 26 w 334"/>
              <a:gd name="T41" fmla="*/ 121 h 239"/>
              <a:gd name="T42" fmla="*/ 10 w 334"/>
              <a:gd name="T43" fmla="*/ 95 h 239"/>
              <a:gd name="T44" fmla="*/ 0 w 334"/>
              <a:gd name="T45" fmla="*/ 61 h 239"/>
              <a:gd name="T46" fmla="*/ 0 w 334"/>
              <a:gd name="T47" fmla="*/ 26 h 239"/>
              <a:gd name="T48" fmla="*/ 29 w 334"/>
              <a:gd name="T49" fmla="*/ 19 h 239"/>
              <a:gd name="T50" fmla="*/ 55 w 334"/>
              <a:gd name="T51" fmla="*/ 9 h 239"/>
              <a:gd name="T52" fmla="*/ 71 w 334"/>
              <a:gd name="T53" fmla="*/ 9 h 239"/>
              <a:gd name="T54" fmla="*/ 104 w 334"/>
              <a:gd name="T55" fmla="*/ 9 h 239"/>
              <a:gd name="T56" fmla="*/ 147 w 334"/>
              <a:gd name="T57" fmla="*/ 0 h 239"/>
              <a:gd name="T58" fmla="*/ 190 w 334"/>
              <a:gd name="T59" fmla="*/ 0 h 239"/>
              <a:gd name="T60" fmla="*/ 216 w 334"/>
              <a:gd name="T61" fmla="*/ 19 h 239"/>
              <a:gd name="T62" fmla="*/ 249 w 334"/>
              <a:gd name="T63" fmla="*/ 26 h 239"/>
              <a:gd name="T64" fmla="*/ 284 w 334"/>
              <a:gd name="T65" fmla="*/ 61 h 239"/>
              <a:gd name="T66" fmla="*/ 317 w 334"/>
              <a:gd name="T67" fmla="*/ 69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34" h="239">
                <a:moveTo>
                  <a:pt x="317" y="69"/>
                </a:moveTo>
                <a:lnTo>
                  <a:pt x="298" y="104"/>
                </a:lnTo>
                <a:lnTo>
                  <a:pt x="334" y="111"/>
                </a:lnTo>
                <a:lnTo>
                  <a:pt x="317" y="130"/>
                </a:lnTo>
                <a:lnTo>
                  <a:pt x="291" y="130"/>
                </a:lnTo>
                <a:lnTo>
                  <a:pt x="291" y="137"/>
                </a:lnTo>
                <a:lnTo>
                  <a:pt x="256" y="147"/>
                </a:lnTo>
                <a:lnTo>
                  <a:pt x="256" y="156"/>
                </a:lnTo>
                <a:lnTo>
                  <a:pt x="256" y="180"/>
                </a:lnTo>
                <a:lnTo>
                  <a:pt x="256" y="189"/>
                </a:lnTo>
                <a:lnTo>
                  <a:pt x="249" y="206"/>
                </a:lnTo>
                <a:lnTo>
                  <a:pt x="242" y="206"/>
                </a:lnTo>
                <a:lnTo>
                  <a:pt x="242" y="215"/>
                </a:lnTo>
                <a:lnTo>
                  <a:pt x="232" y="206"/>
                </a:lnTo>
                <a:lnTo>
                  <a:pt x="213" y="215"/>
                </a:lnTo>
                <a:lnTo>
                  <a:pt x="206" y="215"/>
                </a:lnTo>
                <a:lnTo>
                  <a:pt x="190" y="215"/>
                </a:lnTo>
                <a:lnTo>
                  <a:pt x="197" y="215"/>
                </a:lnTo>
                <a:lnTo>
                  <a:pt x="190" y="232"/>
                </a:lnTo>
                <a:lnTo>
                  <a:pt x="180" y="239"/>
                </a:lnTo>
                <a:lnTo>
                  <a:pt x="163" y="239"/>
                </a:lnTo>
                <a:lnTo>
                  <a:pt x="163" y="232"/>
                </a:lnTo>
                <a:lnTo>
                  <a:pt x="147" y="232"/>
                </a:lnTo>
                <a:lnTo>
                  <a:pt x="128" y="215"/>
                </a:lnTo>
                <a:lnTo>
                  <a:pt x="102" y="206"/>
                </a:lnTo>
                <a:lnTo>
                  <a:pt x="102" y="196"/>
                </a:lnTo>
                <a:lnTo>
                  <a:pt x="95" y="196"/>
                </a:lnTo>
                <a:lnTo>
                  <a:pt x="95" y="189"/>
                </a:lnTo>
                <a:lnTo>
                  <a:pt x="102" y="180"/>
                </a:lnTo>
                <a:lnTo>
                  <a:pt x="102" y="170"/>
                </a:lnTo>
                <a:lnTo>
                  <a:pt x="102" y="163"/>
                </a:lnTo>
                <a:lnTo>
                  <a:pt x="95" y="156"/>
                </a:lnTo>
                <a:lnTo>
                  <a:pt x="95" y="147"/>
                </a:lnTo>
                <a:lnTo>
                  <a:pt x="85" y="137"/>
                </a:lnTo>
                <a:lnTo>
                  <a:pt x="78" y="137"/>
                </a:lnTo>
                <a:lnTo>
                  <a:pt x="78" y="147"/>
                </a:lnTo>
                <a:lnTo>
                  <a:pt x="69" y="147"/>
                </a:lnTo>
                <a:lnTo>
                  <a:pt x="52" y="147"/>
                </a:lnTo>
                <a:lnTo>
                  <a:pt x="43" y="137"/>
                </a:lnTo>
                <a:lnTo>
                  <a:pt x="36" y="137"/>
                </a:lnTo>
                <a:lnTo>
                  <a:pt x="26" y="130"/>
                </a:lnTo>
                <a:lnTo>
                  <a:pt x="26" y="121"/>
                </a:lnTo>
                <a:lnTo>
                  <a:pt x="10" y="121"/>
                </a:lnTo>
                <a:lnTo>
                  <a:pt x="10" y="95"/>
                </a:lnTo>
                <a:lnTo>
                  <a:pt x="0" y="69"/>
                </a:lnTo>
                <a:lnTo>
                  <a:pt x="0" y="61"/>
                </a:lnTo>
                <a:lnTo>
                  <a:pt x="0" y="52"/>
                </a:lnTo>
                <a:lnTo>
                  <a:pt x="0" y="26"/>
                </a:lnTo>
                <a:lnTo>
                  <a:pt x="3" y="26"/>
                </a:lnTo>
                <a:lnTo>
                  <a:pt x="29" y="19"/>
                </a:lnTo>
                <a:lnTo>
                  <a:pt x="43" y="19"/>
                </a:lnTo>
                <a:lnTo>
                  <a:pt x="55" y="9"/>
                </a:lnTo>
                <a:lnTo>
                  <a:pt x="62" y="9"/>
                </a:lnTo>
                <a:lnTo>
                  <a:pt x="71" y="9"/>
                </a:lnTo>
                <a:lnTo>
                  <a:pt x="95" y="9"/>
                </a:lnTo>
                <a:lnTo>
                  <a:pt x="104" y="9"/>
                </a:lnTo>
                <a:lnTo>
                  <a:pt x="121" y="0"/>
                </a:lnTo>
                <a:lnTo>
                  <a:pt x="147" y="0"/>
                </a:lnTo>
                <a:lnTo>
                  <a:pt x="173" y="9"/>
                </a:lnTo>
                <a:lnTo>
                  <a:pt x="190" y="0"/>
                </a:lnTo>
                <a:lnTo>
                  <a:pt x="199" y="9"/>
                </a:lnTo>
                <a:lnTo>
                  <a:pt x="216" y="19"/>
                </a:lnTo>
                <a:lnTo>
                  <a:pt x="242" y="26"/>
                </a:lnTo>
                <a:lnTo>
                  <a:pt x="249" y="26"/>
                </a:lnTo>
                <a:lnTo>
                  <a:pt x="258" y="43"/>
                </a:lnTo>
                <a:lnTo>
                  <a:pt x="284" y="61"/>
                </a:lnTo>
                <a:lnTo>
                  <a:pt x="291" y="69"/>
                </a:lnTo>
                <a:lnTo>
                  <a:pt x="317" y="69"/>
                </a:lnTo>
                <a:lnTo>
                  <a:pt x="317" y="69"/>
                </a:lnTo>
                <a:close/>
              </a:path>
            </a:pathLst>
          </a:custGeom>
          <a:solidFill>
            <a:srgbClr val="FFC000"/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6" name="Freeform 491">
            <a:extLst>
              <a:ext uri="{FF2B5EF4-FFF2-40B4-BE49-F238E27FC236}">
                <a16:creationId xmlns:a16="http://schemas.microsoft.com/office/drawing/2014/main" id="{7938ECB4-C9AF-4186-A10B-FD6A712248AB}"/>
              </a:ext>
            </a:extLst>
          </p:cNvPr>
          <p:cNvSpPr>
            <a:spLocks/>
          </p:cNvSpPr>
          <p:nvPr/>
        </p:nvSpPr>
        <p:spPr bwMode="auto">
          <a:xfrm>
            <a:off x="2463143" y="2267441"/>
            <a:ext cx="495177" cy="393647"/>
          </a:xfrm>
          <a:custGeom>
            <a:avLst/>
            <a:gdLst>
              <a:gd name="T0" fmla="*/ 17 w 556"/>
              <a:gd name="T1" fmla="*/ 409 h 442"/>
              <a:gd name="T2" fmla="*/ 10 w 556"/>
              <a:gd name="T3" fmla="*/ 393 h 442"/>
              <a:gd name="T4" fmla="*/ 17 w 556"/>
              <a:gd name="T5" fmla="*/ 364 h 442"/>
              <a:gd name="T6" fmla="*/ 43 w 556"/>
              <a:gd name="T7" fmla="*/ 331 h 442"/>
              <a:gd name="T8" fmla="*/ 43 w 556"/>
              <a:gd name="T9" fmla="*/ 298 h 442"/>
              <a:gd name="T10" fmla="*/ 17 w 556"/>
              <a:gd name="T11" fmla="*/ 272 h 442"/>
              <a:gd name="T12" fmla="*/ 10 w 556"/>
              <a:gd name="T13" fmla="*/ 213 h 442"/>
              <a:gd name="T14" fmla="*/ 26 w 556"/>
              <a:gd name="T15" fmla="*/ 220 h 442"/>
              <a:gd name="T16" fmla="*/ 62 w 556"/>
              <a:gd name="T17" fmla="*/ 196 h 442"/>
              <a:gd name="T18" fmla="*/ 79 w 556"/>
              <a:gd name="T19" fmla="*/ 196 h 442"/>
              <a:gd name="T20" fmla="*/ 105 w 556"/>
              <a:gd name="T21" fmla="*/ 187 h 442"/>
              <a:gd name="T22" fmla="*/ 121 w 556"/>
              <a:gd name="T23" fmla="*/ 161 h 442"/>
              <a:gd name="T24" fmla="*/ 154 w 556"/>
              <a:gd name="T25" fmla="*/ 118 h 442"/>
              <a:gd name="T26" fmla="*/ 199 w 556"/>
              <a:gd name="T27" fmla="*/ 92 h 442"/>
              <a:gd name="T28" fmla="*/ 190 w 556"/>
              <a:gd name="T29" fmla="*/ 50 h 442"/>
              <a:gd name="T30" fmla="*/ 216 w 556"/>
              <a:gd name="T31" fmla="*/ 50 h 442"/>
              <a:gd name="T32" fmla="*/ 232 w 556"/>
              <a:gd name="T33" fmla="*/ 24 h 442"/>
              <a:gd name="T34" fmla="*/ 258 w 556"/>
              <a:gd name="T35" fmla="*/ 0 h 442"/>
              <a:gd name="T36" fmla="*/ 275 w 556"/>
              <a:gd name="T37" fmla="*/ 7 h 442"/>
              <a:gd name="T38" fmla="*/ 327 w 556"/>
              <a:gd name="T39" fmla="*/ 7 h 442"/>
              <a:gd name="T40" fmla="*/ 343 w 556"/>
              <a:gd name="T41" fmla="*/ 24 h 442"/>
              <a:gd name="T42" fmla="*/ 370 w 556"/>
              <a:gd name="T43" fmla="*/ 7 h 442"/>
              <a:gd name="T44" fmla="*/ 412 w 556"/>
              <a:gd name="T45" fmla="*/ 33 h 442"/>
              <a:gd name="T46" fmla="*/ 403 w 556"/>
              <a:gd name="T47" fmla="*/ 59 h 442"/>
              <a:gd name="T48" fmla="*/ 412 w 556"/>
              <a:gd name="T49" fmla="*/ 118 h 442"/>
              <a:gd name="T50" fmla="*/ 436 w 556"/>
              <a:gd name="T51" fmla="*/ 137 h 442"/>
              <a:gd name="T52" fmla="*/ 488 w 556"/>
              <a:gd name="T53" fmla="*/ 151 h 442"/>
              <a:gd name="T54" fmla="*/ 504 w 556"/>
              <a:gd name="T55" fmla="*/ 177 h 442"/>
              <a:gd name="T56" fmla="*/ 530 w 556"/>
              <a:gd name="T57" fmla="*/ 196 h 442"/>
              <a:gd name="T58" fmla="*/ 547 w 556"/>
              <a:gd name="T59" fmla="*/ 220 h 442"/>
              <a:gd name="T60" fmla="*/ 514 w 556"/>
              <a:gd name="T61" fmla="*/ 246 h 442"/>
              <a:gd name="T62" fmla="*/ 481 w 556"/>
              <a:gd name="T63" fmla="*/ 246 h 442"/>
              <a:gd name="T64" fmla="*/ 481 w 556"/>
              <a:gd name="T65" fmla="*/ 282 h 442"/>
              <a:gd name="T66" fmla="*/ 497 w 556"/>
              <a:gd name="T67" fmla="*/ 324 h 442"/>
              <a:gd name="T68" fmla="*/ 521 w 556"/>
              <a:gd name="T69" fmla="*/ 331 h 442"/>
              <a:gd name="T70" fmla="*/ 495 w 556"/>
              <a:gd name="T71" fmla="*/ 348 h 442"/>
              <a:gd name="T72" fmla="*/ 462 w 556"/>
              <a:gd name="T73" fmla="*/ 348 h 442"/>
              <a:gd name="T74" fmla="*/ 445 w 556"/>
              <a:gd name="T75" fmla="*/ 374 h 442"/>
              <a:gd name="T76" fmla="*/ 445 w 556"/>
              <a:gd name="T77" fmla="*/ 416 h 442"/>
              <a:gd name="T78" fmla="*/ 419 w 556"/>
              <a:gd name="T79" fmla="*/ 416 h 442"/>
              <a:gd name="T80" fmla="*/ 377 w 556"/>
              <a:gd name="T81" fmla="*/ 416 h 442"/>
              <a:gd name="T82" fmla="*/ 358 w 556"/>
              <a:gd name="T83" fmla="*/ 435 h 442"/>
              <a:gd name="T84" fmla="*/ 334 w 556"/>
              <a:gd name="T85" fmla="*/ 416 h 442"/>
              <a:gd name="T86" fmla="*/ 308 w 556"/>
              <a:gd name="T87" fmla="*/ 416 h 442"/>
              <a:gd name="T88" fmla="*/ 256 w 556"/>
              <a:gd name="T89" fmla="*/ 426 h 442"/>
              <a:gd name="T90" fmla="*/ 206 w 556"/>
              <a:gd name="T91" fmla="*/ 409 h 442"/>
              <a:gd name="T92" fmla="*/ 138 w 556"/>
              <a:gd name="T93" fmla="*/ 393 h 442"/>
              <a:gd name="T94" fmla="*/ 76 w 556"/>
              <a:gd name="T95" fmla="*/ 400 h 442"/>
              <a:gd name="T96" fmla="*/ 53 w 556"/>
              <a:gd name="T97" fmla="*/ 426 h 442"/>
              <a:gd name="T98" fmla="*/ 26 w 556"/>
              <a:gd name="T99" fmla="*/ 426 h 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56" h="442">
                <a:moveTo>
                  <a:pt x="17" y="435"/>
                </a:moveTo>
                <a:lnTo>
                  <a:pt x="17" y="416"/>
                </a:lnTo>
                <a:lnTo>
                  <a:pt x="17" y="409"/>
                </a:lnTo>
                <a:lnTo>
                  <a:pt x="17" y="400"/>
                </a:lnTo>
                <a:lnTo>
                  <a:pt x="26" y="393"/>
                </a:lnTo>
                <a:lnTo>
                  <a:pt x="10" y="393"/>
                </a:lnTo>
                <a:lnTo>
                  <a:pt x="0" y="383"/>
                </a:lnTo>
                <a:lnTo>
                  <a:pt x="10" y="374"/>
                </a:lnTo>
                <a:lnTo>
                  <a:pt x="17" y="364"/>
                </a:lnTo>
                <a:lnTo>
                  <a:pt x="26" y="357"/>
                </a:lnTo>
                <a:lnTo>
                  <a:pt x="43" y="348"/>
                </a:lnTo>
                <a:lnTo>
                  <a:pt x="43" y="331"/>
                </a:lnTo>
                <a:lnTo>
                  <a:pt x="34" y="315"/>
                </a:lnTo>
                <a:lnTo>
                  <a:pt x="43" y="308"/>
                </a:lnTo>
                <a:lnTo>
                  <a:pt x="43" y="298"/>
                </a:lnTo>
                <a:lnTo>
                  <a:pt x="34" y="289"/>
                </a:lnTo>
                <a:lnTo>
                  <a:pt x="26" y="282"/>
                </a:lnTo>
                <a:lnTo>
                  <a:pt x="17" y="272"/>
                </a:lnTo>
                <a:lnTo>
                  <a:pt x="17" y="255"/>
                </a:lnTo>
                <a:lnTo>
                  <a:pt x="10" y="239"/>
                </a:lnTo>
                <a:lnTo>
                  <a:pt x="10" y="213"/>
                </a:lnTo>
                <a:lnTo>
                  <a:pt x="10" y="213"/>
                </a:lnTo>
                <a:lnTo>
                  <a:pt x="26" y="213"/>
                </a:lnTo>
                <a:lnTo>
                  <a:pt x="26" y="220"/>
                </a:lnTo>
                <a:lnTo>
                  <a:pt x="43" y="220"/>
                </a:lnTo>
                <a:lnTo>
                  <a:pt x="53" y="213"/>
                </a:lnTo>
                <a:lnTo>
                  <a:pt x="62" y="196"/>
                </a:lnTo>
                <a:lnTo>
                  <a:pt x="53" y="196"/>
                </a:lnTo>
                <a:lnTo>
                  <a:pt x="69" y="196"/>
                </a:lnTo>
                <a:lnTo>
                  <a:pt x="79" y="196"/>
                </a:lnTo>
                <a:lnTo>
                  <a:pt x="95" y="187"/>
                </a:lnTo>
                <a:lnTo>
                  <a:pt x="105" y="196"/>
                </a:lnTo>
                <a:lnTo>
                  <a:pt x="105" y="187"/>
                </a:lnTo>
                <a:lnTo>
                  <a:pt x="112" y="187"/>
                </a:lnTo>
                <a:lnTo>
                  <a:pt x="121" y="170"/>
                </a:lnTo>
                <a:lnTo>
                  <a:pt x="121" y="161"/>
                </a:lnTo>
                <a:lnTo>
                  <a:pt x="121" y="137"/>
                </a:lnTo>
                <a:lnTo>
                  <a:pt x="121" y="128"/>
                </a:lnTo>
                <a:lnTo>
                  <a:pt x="154" y="118"/>
                </a:lnTo>
                <a:lnTo>
                  <a:pt x="154" y="111"/>
                </a:lnTo>
                <a:lnTo>
                  <a:pt x="180" y="111"/>
                </a:lnTo>
                <a:lnTo>
                  <a:pt x="199" y="92"/>
                </a:lnTo>
                <a:lnTo>
                  <a:pt x="164" y="85"/>
                </a:lnTo>
                <a:lnTo>
                  <a:pt x="180" y="50"/>
                </a:lnTo>
                <a:lnTo>
                  <a:pt x="190" y="50"/>
                </a:lnTo>
                <a:lnTo>
                  <a:pt x="199" y="50"/>
                </a:lnTo>
                <a:lnTo>
                  <a:pt x="206" y="42"/>
                </a:lnTo>
                <a:lnTo>
                  <a:pt x="216" y="50"/>
                </a:lnTo>
                <a:lnTo>
                  <a:pt x="232" y="42"/>
                </a:lnTo>
                <a:lnTo>
                  <a:pt x="239" y="33"/>
                </a:lnTo>
                <a:lnTo>
                  <a:pt x="232" y="24"/>
                </a:lnTo>
                <a:lnTo>
                  <a:pt x="223" y="16"/>
                </a:lnTo>
                <a:lnTo>
                  <a:pt x="239" y="7"/>
                </a:lnTo>
                <a:lnTo>
                  <a:pt x="258" y="0"/>
                </a:lnTo>
                <a:lnTo>
                  <a:pt x="265" y="0"/>
                </a:lnTo>
                <a:lnTo>
                  <a:pt x="275" y="0"/>
                </a:lnTo>
                <a:lnTo>
                  <a:pt x="275" y="7"/>
                </a:lnTo>
                <a:lnTo>
                  <a:pt x="291" y="7"/>
                </a:lnTo>
                <a:lnTo>
                  <a:pt x="310" y="7"/>
                </a:lnTo>
                <a:lnTo>
                  <a:pt x="327" y="7"/>
                </a:lnTo>
                <a:lnTo>
                  <a:pt x="334" y="16"/>
                </a:lnTo>
                <a:lnTo>
                  <a:pt x="334" y="24"/>
                </a:lnTo>
                <a:lnTo>
                  <a:pt x="343" y="24"/>
                </a:lnTo>
                <a:lnTo>
                  <a:pt x="360" y="16"/>
                </a:lnTo>
                <a:lnTo>
                  <a:pt x="360" y="7"/>
                </a:lnTo>
                <a:lnTo>
                  <a:pt x="370" y="7"/>
                </a:lnTo>
                <a:lnTo>
                  <a:pt x="386" y="16"/>
                </a:lnTo>
                <a:lnTo>
                  <a:pt x="396" y="33"/>
                </a:lnTo>
                <a:lnTo>
                  <a:pt x="412" y="33"/>
                </a:lnTo>
                <a:lnTo>
                  <a:pt x="412" y="42"/>
                </a:lnTo>
                <a:lnTo>
                  <a:pt x="403" y="50"/>
                </a:lnTo>
                <a:lnTo>
                  <a:pt x="403" y="59"/>
                </a:lnTo>
                <a:lnTo>
                  <a:pt x="419" y="85"/>
                </a:lnTo>
                <a:lnTo>
                  <a:pt x="429" y="111"/>
                </a:lnTo>
                <a:lnTo>
                  <a:pt x="412" y="118"/>
                </a:lnTo>
                <a:lnTo>
                  <a:pt x="436" y="118"/>
                </a:lnTo>
                <a:lnTo>
                  <a:pt x="436" y="128"/>
                </a:lnTo>
                <a:lnTo>
                  <a:pt x="436" y="137"/>
                </a:lnTo>
                <a:lnTo>
                  <a:pt x="462" y="144"/>
                </a:lnTo>
                <a:lnTo>
                  <a:pt x="471" y="144"/>
                </a:lnTo>
                <a:lnTo>
                  <a:pt x="488" y="151"/>
                </a:lnTo>
                <a:lnTo>
                  <a:pt x="488" y="170"/>
                </a:lnTo>
                <a:lnTo>
                  <a:pt x="488" y="177"/>
                </a:lnTo>
                <a:lnTo>
                  <a:pt x="504" y="177"/>
                </a:lnTo>
                <a:lnTo>
                  <a:pt x="514" y="177"/>
                </a:lnTo>
                <a:lnTo>
                  <a:pt x="530" y="177"/>
                </a:lnTo>
                <a:lnTo>
                  <a:pt x="530" y="196"/>
                </a:lnTo>
                <a:lnTo>
                  <a:pt x="547" y="196"/>
                </a:lnTo>
                <a:lnTo>
                  <a:pt x="556" y="213"/>
                </a:lnTo>
                <a:lnTo>
                  <a:pt x="547" y="220"/>
                </a:lnTo>
                <a:lnTo>
                  <a:pt x="540" y="229"/>
                </a:lnTo>
                <a:lnTo>
                  <a:pt x="530" y="239"/>
                </a:lnTo>
                <a:lnTo>
                  <a:pt x="514" y="246"/>
                </a:lnTo>
                <a:lnTo>
                  <a:pt x="504" y="255"/>
                </a:lnTo>
                <a:lnTo>
                  <a:pt x="488" y="246"/>
                </a:lnTo>
                <a:lnTo>
                  <a:pt x="481" y="246"/>
                </a:lnTo>
                <a:lnTo>
                  <a:pt x="481" y="255"/>
                </a:lnTo>
                <a:lnTo>
                  <a:pt x="481" y="272"/>
                </a:lnTo>
                <a:lnTo>
                  <a:pt x="481" y="282"/>
                </a:lnTo>
                <a:lnTo>
                  <a:pt x="488" y="298"/>
                </a:lnTo>
                <a:lnTo>
                  <a:pt x="497" y="315"/>
                </a:lnTo>
                <a:lnTo>
                  <a:pt x="497" y="324"/>
                </a:lnTo>
                <a:lnTo>
                  <a:pt x="504" y="331"/>
                </a:lnTo>
                <a:lnTo>
                  <a:pt x="523" y="338"/>
                </a:lnTo>
                <a:lnTo>
                  <a:pt x="521" y="331"/>
                </a:lnTo>
                <a:lnTo>
                  <a:pt x="521" y="348"/>
                </a:lnTo>
                <a:lnTo>
                  <a:pt x="504" y="348"/>
                </a:lnTo>
                <a:lnTo>
                  <a:pt x="495" y="348"/>
                </a:lnTo>
                <a:lnTo>
                  <a:pt x="488" y="348"/>
                </a:lnTo>
                <a:lnTo>
                  <a:pt x="478" y="348"/>
                </a:lnTo>
                <a:lnTo>
                  <a:pt x="462" y="348"/>
                </a:lnTo>
                <a:lnTo>
                  <a:pt x="455" y="348"/>
                </a:lnTo>
                <a:lnTo>
                  <a:pt x="445" y="357"/>
                </a:lnTo>
                <a:lnTo>
                  <a:pt x="445" y="374"/>
                </a:lnTo>
                <a:lnTo>
                  <a:pt x="436" y="393"/>
                </a:lnTo>
                <a:lnTo>
                  <a:pt x="445" y="409"/>
                </a:lnTo>
                <a:lnTo>
                  <a:pt x="445" y="416"/>
                </a:lnTo>
                <a:lnTo>
                  <a:pt x="445" y="435"/>
                </a:lnTo>
                <a:lnTo>
                  <a:pt x="436" y="435"/>
                </a:lnTo>
                <a:lnTo>
                  <a:pt x="419" y="416"/>
                </a:lnTo>
                <a:lnTo>
                  <a:pt x="410" y="416"/>
                </a:lnTo>
                <a:lnTo>
                  <a:pt x="403" y="426"/>
                </a:lnTo>
                <a:lnTo>
                  <a:pt x="377" y="416"/>
                </a:lnTo>
                <a:lnTo>
                  <a:pt x="367" y="416"/>
                </a:lnTo>
                <a:lnTo>
                  <a:pt x="358" y="426"/>
                </a:lnTo>
                <a:lnTo>
                  <a:pt x="358" y="435"/>
                </a:lnTo>
                <a:lnTo>
                  <a:pt x="351" y="442"/>
                </a:lnTo>
                <a:lnTo>
                  <a:pt x="341" y="426"/>
                </a:lnTo>
                <a:lnTo>
                  <a:pt x="334" y="416"/>
                </a:lnTo>
                <a:lnTo>
                  <a:pt x="325" y="435"/>
                </a:lnTo>
                <a:lnTo>
                  <a:pt x="317" y="426"/>
                </a:lnTo>
                <a:lnTo>
                  <a:pt x="308" y="416"/>
                </a:lnTo>
                <a:lnTo>
                  <a:pt x="291" y="416"/>
                </a:lnTo>
                <a:lnTo>
                  <a:pt x="282" y="426"/>
                </a:lnTo>
                <a:lnTo>
                  <a:pt x="256" y="426"/>
                </a:lnTo>
                <a:lnTo>
                  <a:pt x="249" y="416"/>
                </a:lnTo>
                <a:lnTo>
                  <a:pt x="239" y="416"/>
                </a:lnTo>
                <a:lnTo>
                  <a:pt x="206" y="409"/>
                </a:lnTo>
                <a:lnTo>
                  <a:pt x="187" y="400"/>
                </a:lnTo>
                <a:lnTo>
                  <a:pt x="161" y="393"/>
                </a:lnTo>
                <a:lnTo>
                  <a:pt x="138" y="393"/>
                </a:lnTo>
                <a:lnTo>
                  <a:pt x="112" y="400"/>
                </a:lnTo>
                <a:lnTo>
                  <a:pt x="95" y="400"/>
                </a:lnTo>
                <a:lnTo>
                  <a:pt x="76" y="400"/>
                </a:lnTo>
                <a:lnTo>
                  <a:pt x="60" y="409"/>
                </a:lnTo>
                <a:lnTo>
                  <a:pt x="60" y="416"/>
                </a:lnTo>
                <a:lnTo>
                  <a:pt x="53" y="426"/>
                </a:lnTo>
                <a:lnTo>
                  <a:pt x="43" y="435"/>
                </a:lnTo>
                <a:lnTo>
                  <a:pt x="34" y="426"/>
                </a:lnTo>
                <a:lnTo>
                  <a:pt x="26" y="426"/>
                </a:lnTo>
                <a:lnTo>
                  <a:pt x="17" y="442"/>
                </a:lnTo>
                <a:lnTo>
                  <a:pt x="17" y="43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7" name="Freeform 492">
            <a:extLst>
              <a:ext uri="{FF2B5EF4-FFF2-40B4-BE49-F238E27FC236}">
                <a16:creationId xmlns:a16="http://schemas.microsoft.com/office/drawing/2014/main" id="{AC467714-17CC-4741-8190-1DA92BEC5E69}"/>
              </a:ext>
            </a:extLst>
          </p:cNvPr>
          <p:cNvSpPr>
            <a:spLocks/>
          </p:cNvSpPr>
          <p:nvPr/>
        </p:nvSpPr>
        <p:spPr bwMode="auto">
          <a:xfrm>
            <a:off x="2393677" y="2547980"/>
            <a:ext cx="1022415" cy="516551"/>
          </a:xfrm>
          <a:custGeom>
            <a:avLst/>
            <a:gdLst>
              <a:gd name="T0" fmla="*/ 582 w 1148"/>
              <a:gd name="T1" fmla="*/ 580 h 580"/>
              <a:gd name="T2" fmla="*/ 625 w 1148"/>
              <a:gd name="T3" fmla="*/ 537 h 580"/>
              <a:gd name="T4" fmla="*/ 660 w 1148"/>
              <a:gd name="T5" fmla="*/ 511 h 580"/>
              <a:gd name="T6" fmla="*/ 675 w 1148"/>
              <a:gd name="T7" fmla="*/ 520 h 580"/>
              <a:gd name="T8" fmla="*/ 668 w 1148"/>
              <a:gd name="T9" fmla="*/ 563 h 580"/>
              <a:gd name="T10" fmla="*/ 753 w 1148"/>
              <a:gd name="T11" fmla="*/ 554 h 580"/>
              <a:gd name="T12" fmla="*/ 788 w 1148"/>
              <a:gd name="T13" fmla="*/ 537 h 580"/>
              <a:gd name="T14" fmla="*/ 847 w 1148"/>
              <a:gd name="T15" fmla="*/ 537 h 580"/>
              <a:gd name="T16" fmla="*/ 871 w 1148"/>
              <a:gd name="T17" fmla="*/ 511 h 580"/>
              <a:gd name="T18" fmla="*/ 942 w 1148"/>
              <a:gd name="T19" fmla="*/ 485 h 580"/>
              <a:gd name="T20" fmla="*/ 992 w 1148"/>
              <a:gd name="T21" fmla="*/ 468 h 580"/>
              <a:gd name="T22" fmla="*/ 1027 w 1148"/>
              <a:gd name="T23" fmla="*/ 426 h 580"/>
              <a:gd name="T24" fmla="*/ 1053 w 1148"/>
              <a:gd name="T25" fmla="*/ 409 h 580"/>
              <a:gd name="T26" fmla="*/ 1119 w 1148"/>
              <a:gd name="T27" fmla="*/ 324 h 580"/>
              <a:gd name="T28" fmla="*/ 1119 w 1148"/>
              <a:gd name="T29" fmla="*/ 246 h 580"/>
              <a:gd name="T30" fmla="*/ 1119 w 1148"/>
              <a:gd name="T31" fmla="*/ 213 h 580"/>
              <a:gd name="T32" fmla="*/ 1148 w 1148"/>
              <a:gd name="T33" fmla="*/ 154 h 580"/>
              <a:gd name="T34" fmla="*/ 1079 w 1148"/>
              <a:gd name="T35" fmla="*/ 154 h 580"/>
              <a:gd name="T36" fmla="*/ 1044 w 1148"/>
              <a:gd name="T37" fmla="*/ 144 h 580"/>
              <a:gd name="T38" fmla="*/ 1001 w 1148"/>
              <a:gd name="T39" fmla="*/ 144 h 580"/>
              <a:gd name="T40" fmla="*/ 942 w 1148"/>
              <a:gd name="T41" fmla="*/ 127 h 580"/>
              <a:gd name="T42" fmla="*/ 890 w 1148"/>
              <a:gd name="T43" fmla="*/ 144 h 580"/>
              <a:gd name="T44" fmla="*/ 840 w 1148"/>
              <a:gd name="T45" fmla="*/ 137 h 580"/>
              <a:gd name="T46" fmla="*/ 805 w 1148"/>
              <a:gd name="T47" fmla="*/ 94 h 580"/>
              <a:gd name="T48" fmla="*/ 753 w 1148"/>
              <a:gd name="T49" fmla="*/ 78 h 580"/>
              <a:gd name="T50" fmla="*/ 729 w 1148"/>
              <a:gd name="T51" fmla="*/ 23 h 580"/>
              <a:gd name="T52" fmla="*/ 670 w 1148"/>
              <a:gd name="T53" fmla="*/ 0 h 580"/>
              <a:gd name="T54" fmla="*/ 618 w 1148"/>
              <a:gd name="T55" fmla="*/ 9 h 580"/>
              <a:gd name="T56" fmla="*/ 582 w 1148"/>
              <a:gd name="T57" fmla="*/ 33 h 580"/>
              <a:gd name="T58" fmla="*/ 533 w 1148"/>
              <a:gd name="T59" fmla="*/ 28 h 580"/>
              <a:gd name="T60" fmla="*/ 518 w 1148"/>
              <a:gd name="T61" fmla="*/ 101 h 580"/>
              <a:gd name="T62" fmla="*/ 481 w 1148"/>
              <a:gd name="T63" fmla="*/ 111 h 580"/>
              <a:gd name="T64" fmla="*/ 431 w 1148"/>
              <a:gd name="T65" fmla="*/ 127 h 580"/>
              <a:gd name="T66" fmla="*/ 388 w 1148"/>
              <a:gd name="T67" fmla="*/ 101 h 580"/>
              <a:gd name="T68" fmla="*/ 317 w 1148"/>
              <a:gd name="T69" fmla="*/ 101 h 580"/>
              <a:gd name="T70" fmla="*/ 190 w 1148"/>
              <a:gd name="T71" fmla="*/ 85 h 580"/>
              <a:gd name="T72" fmla="*/ 128 w 1148"/>
              <a:gd name="T73" fmla="*/ 111 h 580"/>
              <a:gd name="T74" fmla="*/ 100 w 1148"/>
              <a:gd name="T75" fmla="*/ 130 h 580"/>
              <a:gd name="T76" fmla="*/ 121 w 1148"/>
              <a:gd name="T77" fmla="*/ 180 h 580"/>
              <a:gd name="T78" fmla="*/ 121 w 1148"/>
              <a:gd name="T79" fmla="*/ 229 h 580"/>
              <a:gd name="T80" fmla="*/ 55 w 1148"/>
              <a:gd name="T81" fmla="*/ 281 h 580"/>
              <a:gd name="T82" fmla="*/ 36 w 1148"/>
              <a:gd name="T83" fmla="*/ 350 h 580"/>
              <a:gd name="T84" fmla="*/ 19 w 1148"/>
              <a:gd name="T85" fmla="*/ 435 h 580"/>
              <a:gd name="T86" fmla="*/ 121 w 1148"/>
              <a:gd name="T87" fmla="*/ 459 h 580"/>
              <a:gd name="T88" fmla="*/ 197 w 1148"/>
              <a:gd name="T89" fmla="*/ 452 h 580"/>
              <a:gd name="T90" fmla="*/ 265 w 1148"/>
              <a:gd name="T91" fmla="*/ 416 h 580"/>
              <a:gd name="T92" fmla="*/ 310 w 1148"/>
              <a:gd name="T93" fmla="*/ 416 h 580"/>
              <a:gd name="T94" fmla="*/ 377 w 1148"/>
              <a:gd name="T95" fmla="*/ 400 h 580"/>
              <a:gd name="T96" fmla="*/ 429 w 1148"/>
              <a:gd name="T97" fmla="*/ 409 h 580"/>
              <a:gd name="T98" fmla="*/ 471 w 1148"/>
              <a:gd name="T99" fmla="*/ 435 h 580"/>
              <a:gd name="T100" fmla="*/ 481 w 1148"/>
              <a:gd name="T101" fmla="*/ 485 h 580"/>
              <a:gd name="T102" fmla="*/ 514 w 1148"/>
              <a:gd name="T103" fmla="*/ 520 h 580"/>
              <a:gd name="T104" fmla="*/ 540 w 1148"/>
              <a:gd name="T105" fmla="*/ 554 h 5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148" h="580">
                <a:moveTo>
                  <a:pt x="547" y="572"/>
                </a:moveTo>
                <a:lnTo>
                  <a:pt x="556" y="563"/>
                </a:lnTo>
                <a:lnTo>
                  <a:pt x="566" y="572"/>
                </a:lnTo>
                <a:lnTo>
                  <a:pt x="573" y="580"/>
                </a:lnTo>
                <a:lnTo>
                  <a:pt x="582" y="580"/>
                </a:lnTo>
                <a:lnTo>
                  <a:pt x="582" y="554"/>
                </a:lnTo>
                <a:lnTo>
                  <a:pt x="592" y="537"/>
                </a:lnTo>
                <a:lnTo>
                  <a:pt x="599" y="537"/>
                </a:lnTo>
                <a:lnTo>
                  <a:pt x="606" y="546"/>
                </a:lnTo>
                <a:lnTo>
                  <a:pt x="625" y="537"/>
                </a:lnTo>
                <a:lnTo>
                  <a:pt x="641" y="520"/>
                </a:lnTo>
                <a:lnTo>
                  <a:pt x="651" y="520"/>
                </a:lnTo>
                <a:lnTo>
                  <a:pt x="651" y="528"/>
                </a:lnTo>
                <a:lnTo>
                  <a:pt x="660" y="528"/>
                </a:lnTo>
                <a:lnTo>
                  <a:pt x="660" y="511"/>
                </a:lnTo>
                <a:lnTo>
                  <a:pt x="660" y="504"/>
                </a:lnTo>
                <a:lnTo>
                  <a:pt x="660" y="485"/>
                </a:lnTo>
                <a:lnTo>
                  <a:pt x="668" y="504"/>
                </a:lnTo>
                <a:lnTo>
                  <a:pt x="675" y="511"/>
                </a:lnTo>
                <a:lnTo>
                  <a:pt x="675" y="520"/>
                </a:lnTo>
                <a:lnTo>
                  <a:pt x="684" y="537"/>
                </a:lnTo>
                <a:lnTo>
                  <a:pt x="668" y="537"/>
                </a:lnTo>
                <a:lnTo>
                  <a:pt x="668" y="546"/>
                </a:lnTo>
                <a:lnTo>
                  <a:pt x="668" y="554"/>
                </a:lnTo>
                <a:lnTo>
                  <a:pt x="668" y="563"/>
                </a:lnTo>
                <a:lnTo>
                  <a:pt x="684" y="572"/>
                </a:lnTo>
                <a:lnTo>
                  <a:pt x="701" y="580"/>
                </a:lnTo>
                <a:lnTo>
                  <a:pt x="729" y="563"/>
                </a:lnTo>
                <a:lnTo>
                  <a:pt x="743" y="554"/>
                </a:lnTo>
                <a:lnTo>
                  <a:pt x="753" y="554"/>
                </a:lnTo>
                <a:lnTo>
                  <a:pt x="762" y="546"/>
                </a:lnTo>
                <a:lnTo>
                  <a:pt x="769" y="572"/>
                </a:lnTo>
                <a:lnTo>
                  <a:pt x="779" y="563"/>
                </a:lnTo>
                <a:lnTo>
                  <a:pt x="788" y="546"/>
                </a:lnTo>
                <a:lnTo>
                  <a:pt x="788" y="537"/>
                </a:lnTo>
                <a:lnTo>
                  <a:pt x="795" y="537"/>
                </a:lnTo>
                <a:lnTo>
                  <a:pt x="805" y="546"/>
                </a:lnTo>
                <a:lnTo>
                  <a:pt x="812" y="537"/>
                </a:lnTo>
                <a:lnTo>
                  <a:pt x="821" y="537"/>
                </a:lnTo>
                <a:lnTo>
                  <a:pt x="847" y="537"/>
                </a:lnTo>
                <a:lnTo>
                  <a:pt x="847" y="546"/>
                </a:lnTo>
                <a:lnTo>
                  <a:pt x="854" y="546"/>
                </a:lnTo>
                <a:lnTo>
                  <a:pt x="854" y="537"/>
                </a:lnTo>
                <a:lnTo>
                  <a:pt x="864" y="537"/>
                </a:lnTo>
                <a:lnTo>
                  <a:pt x="871" y="511"/>
                </a:lnTo>
                <a:lnTo>
                  <a:pt x="890" y="504"/>
                </a:lnTo>
                <a:lnTo>
                  <a:pt x="890" y="520"/>
                </a:lnTo>
                <a:lnTo>
                  <a:pt x="899" y="520"/>
                </a:lnTo>
                <a:lnTo>
                  <a:pt x="923" y="494"/>
                </a:lnTo>
                <a:lnTo>
                  <a:pt x="942" y="485"/>
                </a:lnTo>
                <a:lnTo>
                  <a:pt x="949" y="478"/>
                </a:lnTo>
                <a:lnTo>
                  <a:pt x="959" y="468"/>
                </a:lnTo>
                <a:lnTo>
                  <a:pt x="966" y="468"/>
                </a:lnTo>
                <a:lnTo>
                  <a:pt x="985" y="478"/>
                </a:lnTo>
                <a:lnTo>
                  <a:pt x="992" y="468"/>
                </a:lnTo>
                <a:lnTo>
                  <a:pt x="985" y="459"/>
                </a:lnTo>
                <a:lnTo>
                  <a:pt x="1001" y="452"/>
                </a:lnTo>
                <a:lnTo>
                  <a:pt x="1008" y="435"/>
                </a:lnTo>
                <a:lnTo>
                  <a:pt x="1018" y="426"/>
                </a:lnTo>
                <a:lnTo>
                  <a:pt x="1027" y="426"/>
                </a:lnTo>
                <a:lnTo>
                  <a:pt x="1034" y="416"/>
                </a:lnTo>
                <a:lnTo>
                  <a:pt x="1034" y="409"/>
                </a:lnTo>
                <a:lnTo>
                  <a:pt x="1044" y="416"/>
                </a:lnTo>
                <a:lnTo>
                  <a:pt x="1051" y="416"/>
                </a:lnTo>
                <a:lnTo>
                  <a:pt x="1053" y="409"/>
                </a:lnTo>
                <a:lnTo>
                  <a:pt x="1053" y="367"/>
                </a:lnTo>
                <a:lnTo>
                  <a:pt x="1079" y="357"/>
                </a:lnTo>
                <a:lnTo>
                  <a:pt x="1086" y="331"/>
                </a:lnTo>
                <a:lnTo>
                  <a:pt x="1096" y="324"/>
                </a:lnTo>
                <a:lnTo>
                  <a:pt x="1119" y="324"/>
                </a:lnTo>
                <a:lnTo>
                  <a:pt x="1138" y="324"/>
                </a:lnTo>
                <a:lnTo>
                  <a:pt x="1148" y="298"/>
                </a:lnTo>
                <a:lnTo>
                  <a:pt x="1148" y="272"/>
                </a:lnTo>
                <a:lnTo>
                  <a:pt x="1129" y="246"/>
                </a:lnTo>
                <a:lnTo>
                  <a:pt x="1119" y="246"/>
                </a:lnTo>
                <a:lnTo>
                  <a:pt x="1119" y="239"/>
                </a:lnTo>
                <a:lnTo>
                  <a:pt x="1129" y="229"/>
                </a:lnTo>
                <a:lnTo>
                  <a:pt x="1138" y="220"/>
                </a:lnTo>
                <a:lnTo>
                  <a:pt x="1138" y="213"/>
                </a:lnTo>
                <a:lnTo>
                  <a:pt x="1119" y="213"/>
                </a:lnTo>
                <a:lnTo>
                  <a:pt x="1112" y="206"/>
                </a:lnTo>
                <a:lnTo>
                  <a:pt x="1119" y="196"/>
                </a:lnTo>
                <a:lnTo>
                  <a:pt x="1138" y="187"/>
                </a:lnTo>
                <a:lnTo>
                  <a:pt x="1148" y="180"/>
                </a:lnTo>
                <a:lnTo>
                  <a:pt x="1148" y="154"/>
                </a:lnTo>
                <a:lnTo>
                  <a:pt x="1138" y="154"/>
                </a:lnTo>
                <a:lnTo>
                  <a:pt x="1129" y="163"/>
                </a:lnTo>
                <a:lnTo>
                  <a:pt x="1112" y="163"/>
                </a:lnTo>
                <a:lnTo>
                  <a:pt x="1096" y="154"/>
                </a:lnTo>
                <a:lnTo>
                  <a:pt x="1079" y="154"/>
                </a:lnTo>
                <a:lnTo>
                  <a:pt x="1079" y="163"/>
                </a:lnTo>
                <a:lnTo>
                  <a:pt x="1070" y="154"/>
                </a:lnTo>
                <a:lnTo>
                  <a:pt x="1070" y="144"/>
                </a:lnTo>
                <a:lnTo>
                  <a:pt x="1063" y="144"/>
                </a:lnTo>
                <a:lnTo>
                  <a:pt x="1044" y="144"/>
                </a:lnTo>
                <a:lnTo>
                  <a:pt x="1044" y="154"/>
                </a:lnTo>
                <a:lnTo>
                  <a:pt x="1027" y="154"/>
                </a:lnTo>
                <a:lnTo>
                  <a:pt x="1027" y="144"/>
                </a:lnTo>
                <a:lnTo>
                  <a:pt x="1011" y="154"/>
                </a:lnTo>
                <a:lnTo>
                  <a:pt x="1001" y="144"/>
                </a:lnTo>
                <a:lnTo>
                  <a:pt x="992" y="137"/>
                </a:lnTo>
                <a:lnTo>
                  <a:pt x="992" y="144"/>
                </a:lnTo>
                <a:lnTo>
                  <a:pt x="975" y="154"/>
                </a:lnTo>
                <a:lnTo>
                  <a:pt x="949" y="137"/>
                </a:lnTo>
                <a:lnTo>
                  <a:pt x="942" y="127"/>
                </a:lnTo>
                <a:lnTo>
                  <a:pt x="942" y="120"/>
                </a:lnTo>
                <a:lnTo>
                  <a:pt x="925" y="120"/>
                </a:lnTo>
                <a:lnTo>
                  <a:pt x="909" y="137"/>
                </a:lnTo>
                <a:lnTo>
                  <a:pt x="899" y="144"/>
                </a:lnTo>
                <a:lnTo>
                  <a:pt x="890" y="144"/>
                </a:lnTo>
                <a:lnTo>
                  <a:pt x="883" y="137"/>
                </a:lnTo>
                <a:lnTo>
                  <a:pt x="873" y="144"/>
                </a:lnTo>
                <a:lnTo>
                  <a:pt x="864" y="137"/>
                </a:lnTo>
                <a:lnTo>
                  <a:pt x="857" y="137"/>
                </a:lnTo>
                <a:lnTo>
                  <a:pt x="840" y="137"/>
                </a:lnTo>
                <a:lnTo>
                  <a:pt x="831" y="137"/>
                </a:lnTo>
                <a:lnTo>
                  <a:pt x="831" y="127"/>
                </a:lnTo>
                <a:lnTo>
                  <a:pt x="821" y="101"/>
                </a:lnTo>
                <a:lnTo>
                  <a:pt x="821" y="94"/>
                </a:lnTo>
                <a:lnTo>
                  <a:pt x="805" y="94"/>
                </a:lnTo>
                <a:lnTo>
                  <a:pt x="795" y="78"/>
                </a:lnTo>
                <a:lnTo>
                  <a:pt x="795" y="68"/>
                </a:lnTo>
                <a:lnTo>
                  <a:pt x="788" y="68"/>
                </a:lnTo>
                <a:lnTo>
                  <a:pt x="779" y="78"/>
                </a:lnTo>
                <a:lnTo>
                  <a:pt x="753" y="78"/>
                </a:lnTo>
                <a:lnTo>
                  <a:pt x="736" y="78"/>
                </a:lnTo>
                <a:lnTo>
                  <a:pt x="736" y="68"/>
                </a:lnTo>
                <a:lnTo>
                  <a:pt x="736" y="49"/>
                </a:lnTo>
                <a:lnTo>
                  <a:pt x="736" y="33"/>
                </a:lnTo>
                <a:lnTo>
                  <a:pt x="729" y="23"/>
                </a:lnTo>
                <a:lnTo>
                  <a:pt x="720" y="9"/>
                </a:lnTo>
                <a:lnTo>
                  <a:pt x="710" y="0"/>
                </a:lnTo>
                <a:lnTo>
                  <a:pt x="703" y="0"/>
                </a:lnTo>
                <a:lnTo>
                  <a:pt x="686" y="9"/>
                </a:lnTo>
                <a:lnTo>
                  <a:pt x="670" y="0"/>
                </a:lnTo>
                <a:lnTo>
                  <a:pt x="660" y="0"/>
                </a:lnTo>
                <a:lnTo>
                  <a:pt x="651" y="9"/>
                </a:lnTo>
                <a:lnTo>
                  <a:pt x="644" y="9"/>
                </a:lnTo>
                <a:lnTo>
                  <a:pt x="625" y="16"/>
                </a:lnTo>
                <a:lnTo>
                  <a:pt x="618" y="9"/>
                </a:lnTo>
                <a:lnTo>
                  <a:pt x="601" y="16"/>
                </a:lnTo>
                <a:lnTo>
                  <a:pt x="601" y="23"/>
                </a:lnTo>
                <a:lnTo>
                  <a:pt x="601" y="16"/>
                </a:lnTo>
                <a:lnTo>
                  <a:pt x="601" y="33"/>
                </a:lnTo>
                <a:lnTo>
                  <a:pt x="582" y="33"/>
                </a:lnTo>
                <a:lnTo>
                  <a:pt x="575" y="33"/>
                </a:lnTo>
                <a:lnTo>
                  <a:pt x="566" y="33"/>
                </a:lnTo>
                <a:lnTo>
                  <a:pt x="556" y="28"/>
                </a:lnTo>
                <a:lnTo>
                  <a:pt x="540" y="28"/>
                </a:lnTo>
                <a:lnTo>
                  <a:pt x="533" y="28"/>
                </a:lnTo>
                <a:lnTo>
                  <a:pt x="518" y="42"/>
                </a:lnTo>
                <a:lnTo>
                  <a:pt x="518" y="56"/>
                </a:lnTo>
                <a:lnTo>
                  <a:pt x="511" y="75"/>
                </a:lnTo>
                <a:lnTo>
                  <a:pt x="521" y="94"/>
                </a:lnTo>
                <a:lnTo>
                  <a:pt x="518" y="101"/>
                </a:lnTo>
                <a:lnTo>
                  <a:pt x="518" y="120"/>
                </a:lnTo>
                <a:lnTo>
                  <a:pt x="514" y="120"/>
                </a:lnTo>
                <a:lnTo>
                  <a:pt x="497" y="101"/>
                </a:lnTo>
                <a:lnTo>
                  <a:pt x="490" y="101"/>
                </a:lnTo>
                <a:lnTo>
                  <a:pt x="481" y="111"/>
                </a:lnTo>
                <a:lnTo>
                  <a:pt x="455" y="101"/>
                </a:lnTo>
                <a:lnTo>
                  <a:pt x="448" y="101"/>
                </a:lnTo>
                <a:lnTo>
                  <a:pt x="436" y="111"/>
                </a:lnTo>
                <a:lnTo>
                  <a:pt x="433" y="120"/>
                </a:lnTo>
                <a:lnTo>
                  <a:pt x="431" y="127"/>
                </a:lnTo>
                <a:lnTo>
                  <a:pt x="419" y="104"/>
                </a:lnTo>
                <a:lnTo>
                  <a:pt x="410" y="101"/>
                </a:lnTo>
                <a:lnTo>
                  <a:pt x="403" y="120"/>
                </a:lnTo>
                <a:lnTo>
                  <a:pt x="395" y="111"/>
                </a:lnTo>
                <a:lnTo>
                  <a:pt x="388" y="101"/>
                </a:lnTo>
                <a:lnTo>
                  <a:pt x="369" y="101"/>
                </a:lnTo>
                <a:lnTo>
                  <a:pt x="360" y="111"/>
                </a:lnTo>
                <a:lnTo>
                  <a:pt x="336" y="111"/>
                </a:lnTo>
                <a:lnTo>
                  <a:pt x="327" y="101"/>
                </a:lnTo>
                <a:lnTo>
                  <a:pt x="317" y="101"/>
                </a:lnTo>
                <a:lnTo>
                  <a:pt x="284" y="94"/>
                </a:lnTo>
                <a:lnTo>
                  <a:pt x="268" y="85"/>
                </a:lnTo>
                <a:lnTo>
                  <a:pt x="242" y="78"/>
                </a:lnTo>
                <a:lnTo>
                  <a:pt x="218" y="78"/>
                </a:lnTo>
                <a:lnTo>
                  <a:pt x="190" y="85"/>
                </a:lnTo>
                <a:lnTo>
                  <a:pt x="173" y="85"/>
                </a:lnTo>
                <a:lnTo>
                  <a:pt x="157" y="83"/>
                </a:lnTo>
                <a:lnTo>
                  <a:pt x="140" y="92"/>
                </a:lnTo>
                <a:lnTo>
                  <a:pt x="138" y="101"/>
                </a:lnTo>
                <a:lnTo>
                  <a:pt x="128" y="111"/>
                </a:lnTo>
                <a:lnTo>
                  <a:pt x="121" y="120"/>
                </a:lnTo>
                <a:lnTo>
                  <a:pt x="114" y="111"/>
                </a:lnTo>
                <a:lnTo>
                  <a:pt x="102" y="111"/>
                </a:lnTo>
                <a:lnTo>
                  <a:pt x="97" y="127"/>
                </a:lnTo>
                <a:lnTo>
                  <a:pt x="100" y="130"/>
                </a:lnTo>
                <a:lnTo>
                  <a:pt x="95" y="137"/>
                </a:lnTo>
                <a:lnTo>
                  <a:pt x="88" y="144"/>
                </a:lnTo>
                <a:lnTo>
                  <a:pt x="95" y="154"/>
                </a:lnTo>
                <a:lnTo>
                  <a:pt x="112" y="170"/>
                </a:lnTo>
                <a:lnTo>
                  <a:pt x="121" y="180"/>
                </a:lnTo>
                <a:lnTo>
                  <a:pt x="112" y="187"/>
                </a:lnTo>
                <a:lnTo>
                  <a:pt x="112" y="196"/>
                </a:lnTo>
                <a:lnTo>
                  <a:pt x="121" y="206"/>
                </a:lnTo>
                <a:lnTo>
                  <a:pt x="121" y="220"/>
                </a:lnTo>
                <a:lnTo>
                  <a:pt x="121" y="229"/>
                </a:lnTo>
                <a:lnTo>
                  <a:pt x="112" y="229"/>
                </a:lnTo>
                <a:lnTo>
                  <a:pt x="104" y="229"/>
                </a:lnTo>
                <a:lnTo>
                  <a:pt x="95" y="246"/>
                </a:lnTo>
                <a:lnTo>
                  <a:pt x="78" y="255"/>
                </a:lnTo>
                <a:lnTo>
                  <a:pt x="55" y="281"/>
                </a:lnTo>
                <a:lnTo>
                  <a:pt x="43" y="288"/>
                </a:lnTo>
                <a:lnTo>
                  <a:pt x="36" y="307"/>
                </a:lnTo>
                <a:lnTo>
                  <a:pt x="43" y="331"/>
                </a:lnTo>
                <a:lnTo>
                  <a:pt x="43" y="350"/>
                </a:lnTo>
                <a:lnTo>
                  <a:pt x="36" y="350"/>
                </a:lnTo>
                <a:lnTo>
                  <a:pt x="26" y="350"/>
                </a:lnTo>
                <a:lnTo>
                  <a:pt x="10" y="376"/>
                </a:lnTo>
                <a:lnTo>
                  <a:pt x="0" y="400"/>
                </a:lnTo>
                <a:lnTo>
                  <a:pt x="0" y="416"/>
                </a:lnTo>
                <a:lnTo>
                  <a:pt x="19" y="435"/>
                </a:lnTo>
                <a:lnTo>
                  <a:pt x="36" y="442"/>
                </a:lnTo>
                <a:lnTo>
                  <a:pt x="55" y="442"/>
                </a:lnTo>
                <a:lnTo>
                  <a:pt x="88" y="442"/>
                </a:lnTo>
                <a:lnTo>
                  <a:pt x="104" y="452"/>
                </a:lnTo>
                <a:lnTo>
                  <a:pt x="121" y="459"/>
                </a:lnTo>
                <a:lnTo>
                  <a:pt x="147" y="452"/>
                </a:lnTo>
                <a:lnTo>
                  <a:pt x="154" y="442"/>
                </a:lnTo>
                <a:lnTo>
                  <a:pt x="173" y="452"/>
                </a:lnTo>
                <a:lnTo>
                  <a:pt x="183" y="459"/>
                </a:lnTo>
                <a:lnTo>
                  <a:pt x="197" y="452"/>
                </a:lnTo>
                <a:lnTo>
                  <a:pt x="216" y="435"/>
                </a:lnTo>
                <a:lnTo>
                  <a:pt x="232" y="435"/>
                </a:lnTo>
                <a:lnTo>
                  <a:pt x="249" y="435"/>
                </a:lnTo>
                <a:lnTo>
                  <a:pt x="258" y="435"/>
                </a:lnTo>
                <a:lnTo>
                  <a:pt x="265" y="416"/>
                </a:lnTo>
                <a:lnTo>
                  <a:pt x="275" y="416"/>
                </a:lnTo>
                <a:lnTo>
                  <a:pt x="291" y="416"/>
                </a:lnTo>
                <a:lnTo>
                  <a:pt x="291" y="409"/>
                </a:lnTo>
                <a:lnTo>
                  <a:pt x="301" y="416"/>
                </a:lnTo>
                <a:lnTo>
                  <a:pt x="310" y="416"/>
                </a:lnTo>
                <a:lnTo>
                  <a:pt x="334" y="409"/>
                </a:lnTo>
                <a:lnTo>
                  <a:pt x="343" y="400"/>
                </a:lnTo>
                <a:lnTo>
                  <a:pt x="353" y="393"/>
                </a:lnTo>
                <a:lnTo>
                  <a:pt x="377" y="393"/>
                </a:lnTo>
                <a:lnTo>
                  <a:pt x="377" y="400"/>
                </a:lnTo>
                <a:lnTo>
                  <a:pt x="395" y="400"/>
                </a:lnTo>
                <a:lnTo>
                  <a:pt x="403" y="409"/>
                </a:lnTo>
                <a:lnTo>
                  <a:pt x="412" y="416"/>
                </a:lnTo>
                <a:lnTo>
                  <a:pt x="419" y="409"/>
                </a:lnTo>
                <a:lnTo>
                  <a:pt x="429" y="409"/>
                </a:lnTo>
                <a:lnTo>
                  <a:pt x="436" y="416"/>
                </a:lnTo>
                <a:lnTo>
                  <a:pt x="455" y="426"/>
                </a:lnTo>
                <a:lnTo>
                  <a:pt x="455" y="416"/>
                </a:lnTo>
                <a:lnTo>
                  <a:pt x="471" y="426"/>
                </a:lnTo>
                <a:lnTo>
                  <a:pt x="471" y="435"/>
                </a:lnTo>
                <a:lnTo>
                  <a:pt x="471" y="442"/>
                </a:lnTo>
                <a:lnTo>
                  <a:pt x="481" y="442"/>
                </a:lnTo>
                <a:lnTo>
                  <a:pt x="481" y="459"/>
                </a:lnTo>
                <a:lnTo>
                  <a:pt x="481" y="478"/>
                </a:lnTo>
                <a:lnTo>
                  <a:pt x="481" y="485"/>
                </a:lnTo>
                <a:lnTo>
                  <a:pt x="488" y="485"/>
                </a:lnTo>
                <a:lnTo>
                  <a:pt x="497" y="485"/>
                </a:lnTo>
                <a:lnTo>
                  <a:pt x="507" y="504"/>
                </a:lnTo>
                <a:lnTo>
                  <a:pt x="507" y="520"/>
                </a:lnTo>
                <a:lnTo>
                  <a:pt x="514" y="520"/>
                </a:lnTo>
                <a:lnTo>
                  <a:pt x="523" y="520"/>
                </a:lnTo>
                <a:lnTo>
                  <a:pt x="523" y="528"/>
                </a:lnTo>
                <a:lnTo>
                  <a:pt x="523" y="537"/>
                </a:lnTo>
                <a:lnTo>
                  <a:pt x="533" y="546"/>
                </a:lnTo>
                <a:lnTo>
                  <a:pt x="540" y="554"/>
                </a:lnTo>
                <a:lnTo>
                  <a:pt x="547" y="563"/>
                </a:lnTo>
                <a:lnTo>
                  <a:pt x="547" y="57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8" name="Freeform 494">
            <a:extLst>
              <a:ext uri="{FF2B5EF4-FFF2-40B4-BE49-F238E27FC236}">
                <a16:creationId xmlns:a16="http://schemas.microsoft.com/office/drawing/2014/main" id="{301AEE1A-783F-47E5-82FD-E245088FAB49}"/>
              </a:ext>
            </a:extLst>
          </p:cNvPr>
          <p:cNvSpPr>
            <a:spLocks/>
          </p:cNvSpPr>
          <p:nvPr/>
        </p:nvSpPr>
        <p:spPr bwMode="auto">
          <a:xfrm>
            <a:off x="3877423" y="3154479"/>
            <a:ext cx="334868" cy="274307"/>
          </a:xfrm>
          <a:custGeom>
            <a:avLst/>
            <a:gdLst>
              <a:gd name="T0" fmla="*/ 239 w 376"/>
              <a:gd name="T1" fmla="*/ 10 h 308"/>
              <a:gd name="T2" fmla="*/ 258 w 376"/>
              <a:gd name="T3" fmla="*/ 19 h 308"/>
              <a:gd name="T4" fmla="*/ 272 w 376"/>
              <a:gd name="T5" fmla="*/ 36 h 308"/>
              <a:gd name="T6" fmla="*/ 291 w 376"/>
              <a:gd name="T7" fmla="*/ 62 h 308"/>
              <a:gd name="T8" fmla="*/ 317 w 376"/>
              <a:gd name="T9" fmla="*/ 78 h 308"/>
              <a:gd name="T10" fmla="*/ 350 w 376"/>
              <a:gd name="T11" fmla="*/ 78 h 308"/>
              <a:gd name="T12" fmla="*/ 376 w 376"/>
              <a:gd name="T13" fmla="*/ 78 h 308"/>
              <a:gd name="T14" fmla="*/ 359 w 376"/>
              <a:gd name="T15" fmla="*/ 88 h 308"/>
              <a:gd name="T16" fmla="*/ 341 w 376"/>
              <a:gd name="T17" fmla="*/ 112 h 308"/>
              <a:gd name="T18" fmla="*/ 333 w 376"/>
              <a:gd name="T19" fmla="*/ 128 h 308"/>
              <a:gd name="T20" fmla="*/ 341 w 376"/>
              <a:gd name="T21" fmla="*/ 147 h 308"/>
              <a:gd name="T22" fmla="*/ 341 w 376"/>
              <a:gd name="T23" fmla="*/ 171 h 308"/>
              <a:gd name="T24" fmla="*/ 341 w 376"/>
              <a:gd name="T25" fmla="*/ 187 h 308"/>
              <a:gd name="T26" fmla="*/ 350 w 376"/>
              <a:gd name="T27" fmla="*/ 206 h 308"/>
              <a:gd name="T28" fmla="*/ 341 w 376"/>
              <a:gd name="T29" fmla="*/ 239 h 308"/>
              <a:gd name="T30" fmla="*/ 333 w 376"/>
              <a:gd name="T31" fmla="*/ 223 h 308"/>
              <a:gd name="T32" fmla="*/ 333 w 376"/>
              <a:gd name="T33" fmla="*/ 239 h 308"/>
              <a:gd name="T34" fmla="*/ 333 w 376"/>
              <a:gd name="T35" fmla="*/ 265 h 308"/>
              <a:gd name="T36" fmla="*/ 341 w 376"/>
              <a:gd name="T37" fmla="*/ 282 h 308"/>
              <a:gd name="T38" fmla="*/ 317 w 376"/>
              <a:gd name="T39" fmla="*/ 282 h 308"/>
              <a:gd name="T40" fmla="*/ 298 w 376"/>
              <a:gd name="T41" fmla="*/ 292 h 308"/>
              <a:gd name="T42" fmla="*/ 265 w 376"/>
              <a:gd name="T43" fmla="*/ 275 h 308"/>
              <a:gd name="T44" fmla="*/ 291 w 376"/>
              <a:gd name="T45" fmla="*/ 265 h 308"/>
              <a:gd name="T46" fmla="*/ 284 w 376"/>
              <a:gd name="T47" fmla="*/ 239 h 308"/>
              <a:gd name="T48" fmla="*/ 284 w 376"/>
              <a:gd name="T49" fmla="*/ 232 h 308"/>
              <a:gd name="T50" fmla="*/ 272 w 376"/>
              <a:gd name="T51" fmla="*/ 206 h 308"/>
              <a:gd name="T52" fmla="*/ 248 w 376"/>
              <a:gd name="T53" fmla="*/ 187 h 308"/>
              <a:gd name="T54" fmla="*/ 222 w 376"/>
              <a:gd name="T55" fmla="*/ 206 h 308"/>
              <a:gd name="T56" fmla="*/ 206 w 376"/>
              <a:gd name="T57" fmla="*/ 239 h 308"/>
              <a:gd name="T58" fmla="*/ 189 w 376"/>
              <a:gd name="T59" fmla="*/ 265 h 308"/>
              <a:gd name="T60" fmla="*/ 170 w 376"/>
              <a:gd name="T61" fmla="*/ 282 h 308"/>
              <a:gd name="T62" fmla="*/ 163 w 376"/>
              <a:gd name="T63" fmla="*/ 308 h 308"/>
              <a:gd name="T64" fmla="*/ 154 w 376"/>
              <a:gd name="T65" fmla="*/ 265 h 308"/>
              <a:gd name="T66" fmla="*/ 154 w 376"/>
              <a:gd name="T67" fmla="*/ 258 h 308"/>
              <a:gd name="T68" fmla="*/ 137 w 376"/>
              <a:gd name="T69" fmla="*/ 249 h 308"/>
              <a:gd name="T70" fmla="*/ 102 w 376"/>
              <a:gd name="T71" fmla="*/ 232 h 308"/>
              <a:gd name="T72" fmla="*/ 68 w 376"/>
              <a:gd name="T73" fmla="*/ 213 h 308"/>
              <a:gd name="T74" fmla="*/ 92 w 376"/>
              <a:gd name="T75" fmla="*/ 206 h 308"/>
              <a:gd name="T76" fmla="*/ 78 w 376"/>
              <a:gd name="T77" fmla="*/ 187 h 308"/>
              <a:gd name="T78" fmla="*/ 35 w 376"/>
              <a:gd name="T79" fmla="*/ 171 h 308"/>
              <a:gd name="T80" fmla="*/ 59 w 376"/>
              <a:gd name="T81" fmla="*/ 154 h 308"/>
              <a:gd name="T82" fmla="*/ 26 w 376"/>
              <a:gd name="T83" fmla="*/ 138 h 308"/>
              <a:gd name="T84" fmla="*/ 16 w 376"/>
              <a:gd name="T85" fmla="*/ 128 h 308"/>
              <a:gd name="T86" fmla="*/ 9 w 376"/>
              <a:gd name="T87" fmla="*/ 102 h 308"/>
              <a:gd name="T88" fmla="*/ 35 w 376"/>
              <a:gd name="T89" fmla="*/ 112 h 308"/>
              <a:gd name="T90" fmla="*/ 68 w 376"/>
              <a:gd name="T91" fmla="*/ 119 h 308"/>
              <a:gd name="T92" fmla="*/ 92 w 376"/>
              <a:gd name="T93" fmla="*/ 112 h 308"/>
              <a:gd name="T94" fmla="*/ 102 w 376"/>
              <a:gd name="T95" fmla="*/ 93 h 308"/>
              <a:gd name="T96" fmla="*/ 92 w 376"/>
              <a:gd name="T97" fmla="*/ 78 h 308"/>
              <a:gd name="T98" fmla="*/ 68 w 376"/>
              <a:gd name="T99" fmla="*/ 62 h 308"/>
              <a:gd name="T100" fmla="*/ 78 w 376"/>
              <a:gd name="T101" fmla="*/ 43 h 308"/>
              <a:gd name="T102" fmla="*/ 104 w 376"/>
              <a:gd name="T103" fmla="*/ 43 h 308"/>
              <a:gd name="T104" fmla="*/ 130 w 376"/>
              <a:gd name="T105" fmla="*/ 62 h 308"/>
              <a:gd name="T106" fmla="*/ 163 w 376"/>
              <a:gd name="T107" fmla="*/ 69 h 308"/>
              <a:gd name="T108" fmla="*/ 189 w 376"/>
              <a:gd name="T109" fmla="*/ 62 h 308"/>
              <a:gd name="T110" fmla="*/ 189 w 376"/>
              <a:gd name="T111" fmla="*/ 36 h 308"/>
              <a:gd name="T112" fmla="*/ 215 w 376"/>
              <a:gd name="T113" fmla="*/ 36 h 308"/>
              <a:gd name="T114" fmla="*/ 222 w 376"/>
              <a:gd name="T115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76" h="308">
                <a:moveTo>
                  <a:pt x="222" y="0"/>
                </a:moveTo>
                <a:lnTo>
                  <a:pt x="239" y="10"/>
                </a:lnTo>
                <a:lnTo>
                  <a:pt x="248" y="10"/>
                </a:lnTo>
                <a:lnTo>
                  <a:pt x="258" y="19"/>
                </a:lnTo>
                <a:lnTo>
                  <a:pt x="265" y="26"/>
                </a:lnTo>
                <a:lnTo>
                  <a:pt x="272" y="36"/>
                </a:lnTo>
                <a:lnTo>
                  <a:pt x="284" y="52"/>
                </a:lnTo>
                <a:lnTo>
                  <a:pt x="291" y="62"/>
                </a:lnTo>
                <a:lnTo>
                  <a:pt x="307" y="62"/>
                </a:lnTo>
                <a:lnTo>
                  <a:pt x="317" y="78"/>
                </a:lnTo>
                <a:lnTo>
                  <a:pt x="333" y="78"/>
                </a:lnTo>
                <a:lnTo>
                  <a:pt x="350" y="78"/>
                </a:lnTo>
                <a:lnTo>
                  <a:pt x="369" y="69"/>
                </a:lnTo>
                <a:lnTo>
                  <a:pt x="376" y="78"/>
                </a:lnTo>
                <a:lnTo>
                  <a:pt x="376" y="88"/>
                </a:lnTo>
                <a:lnTo>
                  <a:pt x="359" y="88"/>
                </a:lnTo>
                <a:lnTo>
                  <a:pt x="350" y="93"/>
                </a:lnTo>
                <a:lnTo>
                  <a:pt x="341" y="112"/>
                </a:lnTo>
                <a:lnTo>
                  <a:pt x="333" y="119"/>
                </a:lnTo>
                <a:lnTo>
                  <a:pt x="333" y="128"/>
                </a:lnTo>
                <a:lnTo>
                  <a:pt x="341" y="138"/>
                </a:lnTo>
                <a:lnTo>
                  <a:pt x="341" y="147"/>
                </a:lnTo>
                <a:lnTo>
                  <a:pt x="341" y="164"/>
                </a:lnTo>
                <a:lnTo>
                  <a:pt x="341" y="171"/>
                </a:lnTo>
                <a:lnTo>
                  <a:pt x="333" y="171"/>
                </a:lnTo>
                <a:lnTo>
                  <a:pt x="341" y="187"/>
                </a:lnTo>
                <a:lnTo>
                  <a:pt x="350" y="197"/>
                </a:lnTo>
                <a:lnTo>
                  <a:pt x="350" y="206"/>
                </a:lnTo>
                <a:lnTo>
                  <a:pt x="350" y="223"/>
                </a:lnTo>
                <a:lnTo>
                  <a:pt x="341" y="239"/>
                </a:lnTo>
                <a:lnTo>
                  <a:pt x="341" y="223"/>
                </a:lnTo>
                <a:lnTo>
                  <a:pt x="333" y="223"/>
                </a:lnTo>
                <a:lnTo>
                  <a:pt x="333" y="232"/>
                </a:lnTo>
                <a:lnTo>
                  <a:pt x="333" y="239"/>
                </a:lnTo>
                <a:lnTo>
                  <a:pt x="326" y="249"/>
                </a:lnTo>
                <a:lnTo>
                  <a:pt x="333" y="265"/>
                </a:lnTo>
                <a:lnTo>
                  <a:pt x="350" y="275"/>
                </a:lnTo>
                <a:lnTo>
                  <a:pt x="341" y="282"/>
                </a:lnTo>
                <a:lnTo>
                  <a:pt x="350" y="292"/>
                </a:lnTo>
                <a:lnTo>
                  <a:pt x="317" y="282"/>
                </a:lnTo>
                <a:lnTo>
                  <a:pt x="307" y="282"/>
                </a:lnTo>
                <a:lnTo>
                  <a:pt x="298" y="292"/>
                </a:lnTo>
                <a:lnTo>
                  <a:pt x="284" y="282"/>
                </a:lnTo>
                <a:lnTo>
                  <a:pt x="265" y="275"/>
                </a:lnTo>
                <a:lnTo>
                  <a:pt x="272" y="275"/>
                </a:lnTo>
                <a:lnTo>
                  <a:pt x="291" y="265"/>
                </a:lnTo>
                <a:lnTo>
                  <a:pt x="291" y="258"/>
                </a:lnTo>
                <a:lnTo>
                  <a:pt x="284" y="239"/>
                </a:lnTo>
                <a:lnTo>
                  <a:pt x="272" y="232"/>
                </a:lnTo>
                <a:lnTo>
                  <a:pt x="284" y="232"/>
                </a:lnTo>
                <a:lnTo>
                  <a:pt x="284" y="213"/>
                </a:lnTo>
                <a:lnTo>
                  <a:pt x="272" y="206"/>
                </a:lnTo>
                <a:lnTo>
                  <a:pt x="258" y="187"/>
                </a:lnTo>
                <a:lnTo>
                  <a:pt x="248" y="187"/>
                </a:lnTo>
                <a:lnTo>
                  <a:pt x="239" y="206"/>
                </a:lnTo>
                <a:lnTo>
                  <a:pt x="222" y="206"/>
                </a:lnTo>
                <a:lnTo>
                  <a:pt x="213" y="223"/>
                </a:lnTo>
                <a:lnTo>
                  <a:pt x="206" y="239"/>
                </a:lnTo>
                <a:lnTo>
                  <a:pt x="206" y="249"/>
                </a:lnTo>
                <a:lnTo>
                  <a:pt x="189" y="265"/>
                </a:lnTo>
                <a:lnTo>
                  <a:pt x="170" y="275"/>
                </a:lnTo>
                <a:lnTo>
                  <a:pt x="170" y="282"/>
                </a:lnTo>
                <a:lnTo>
                  <a:pt x="170" y="292"/>
                </a:lnTo>
                <a:lnTo>
                  <a:pt x="163" y="308"/>
                </a:lnTo>
                <a:lnTo>
                  <a:pt x="163" y="275"/>
                </a:lnTo>
                <a:lnTo>
                  <a:pt x="154" y="265"/>
                </a:lnTo>
                <a:lnTo>
                  <a:pt x="147" y="265"/>
                </a:lnTo>
                <a:lnTo>
                  <a:pt x="154" y="258"/>
                </a:lnTo>
                <a:lnTo>
                  <a:pt x="147" y="249"/>
                </a:lnTo>
                <a:lnTo>
                  <a:pt x="137" y="249"/>
                </a:lnTo>
                <a:lnTo>
                  <a:pt x="121" y="249"/>
                </a:lnTo>
                <a:lnTo>
                  <a:pt x="102" y="232"/>
                </a:lnTo>
                <a:lnTo>
                  <a:pt x="78" y="223"/>
                </a:lnTo>
                <a:lnTo>
                  <a:pt x="68" y="213"/>
                </a:lnTo>
                <a:lnTo>
                  <a:pt x="85" y="213"/>
                </a:lnTo>
                <a:lnTo>
                  <a:pt x="92" y="206"/>
                </a:lnTo>
                <a:lnTo>
                  <a:pt x="92" y="197"/>
                </a:lnTo>
                <a:lnTo>
                  <a:pt x="78" y="187"/>
                </a:lnTo>
                <a:lnTo>
                  <a:pt x="59" y="187"/>
                </a:lnTo>
                <a:lnTo>
                  <a:pt x="35" y="171"/>
                </a:lnTo>
                <a:lnTo>
                  <a:pt x="52" y="164"/>
                </a:lnTo>
                <a:lnTo>
                  <a:pt x="59" y="154"/>
                </a:lnTo>
                <a:lnTo>
                  <a:pt x="35" y="138"/>
                </a:lnTo>
                <a:lnTo>
                  <a:pt x="26" y="138"/>
                </a:lnTo>
                <a:lnTo>
                  <a:pt x="16" y="138"/>
                </a:lnTo>
                <a:lnTo>
                  <a:pt x="16" y="128"/>
                </a:lnTo>
                <a:lnTo>
                  <a:pt x="0" y="119"/>
                </a:lnTo>
                <a:lnTo>
                  <a:pt x="9" y="102"/>
                </a:lnTo>
                <a:lnTo>
                  <a:pt x="16" y="93"/>
                </a:lnTo>
                <a:lnTo>
                  <a:pt x="35" y="112"/>
                </a:lnTo>
                <a:lnTo>
                  <a:pt x="52" y="112"/>
                </a:lnTo>
                <a:lnTo>
                  <a:pt x="68" y="119"/>
                </a:lnTo>
                <a:lnTo>
                  <a:pt x="68" y="112"/>
                </a:lnTo>
                <a:lnTo>
                  <a:pt x="92" y="112"/>
                </a:lnTo>
                <a:lnTo>
                  <a:pt x="102" y="112"/>
                </a:lnTo>
                <a:lnTo>
                  <a:pt x="102" y="93"/>
                </a:lnTo>
                <a:lnTo>
                  <a:pt x="102" y="88"/>
                </a:lnTo>
                <a:lnTo>
                  <a:pt x="92" y="78"/>
                </a:lnTo>
                <a:lnTo>
                  <a:pt x="68" y="69"/>
                </a:lnTo>
                <a:lnTo>
                  <a:pt x="68" y="62"/>
                </a:lnTo>
                <a:lnTo>
                  <a:pt x="68" y="43"/>
                </a:lnTo>
                <a:lnTo>
                  <a:pt x="78" y="43"/>
                </a:lnTo>
                <a:lnTo>
                  <a:pt x="78" y="43"/>
                </a:lnTo>
                <a:lnTo>
                  <a:pt x="104" y="43"/>
                </a:lnTo>
                <a:lnTo>
                  <a:pt x="113" y="43"/>
                </a:lnTo>
                <a:lnTo>
                  <a:pt x="130" y="62"/>
                </a:lnTo>
                <a:lnTo>
                  <a:pt x="147" y="69"/>
                </a:lnTo>
                <a:lnTo>
                  <a:pt x="163" y="69"/>
                </a:lnTo>
                <a:lnTo>
                  <a:pt x="170" y="69"/>
                </a:lnTo>
                <a:lnTo>
                  <a:pt x="189" y="62"/>
                </a:lnTo>
                <a:lnTo>
                  <a:pt x="199" y="43"/>
                </a:lnTo>
                <a:lnTo>
                  <a:pt x="189" y="36"/>
                </a:lnTo>
                <a:lnTo>
                  <a:pt x="206" y="36"/>
                </a:lnTo>
                <a:lnTo>
                  <a:pt x="215" y="36"/>
                </a:lnTo>
                <a:lnTo>
                  <a:pt x="215" y="19"/>
                </a:lnTo>
                <a:lnTo>
                  <a:pt x="222" y="0"/>
                </a:lnTo>
                <a:lnTo>
                  <a:pt x="222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9" name="Freeform 496">
            <a:extLst>
              <a:ext uri="{FF2B5EF4-FFF2-40B4-BE49-F238E27FC236}">
                <a16:creationId xmlns:a16="http://schemas.microsoft.com/office/drawing/2014/main" id="{6A106963-8BD2-4153-B6B9-122A21EB8451}"/>
              </a:ext>
            </a:extLst>
          </p:cNvPr>
          <p:cNvSpPr>
            <a:spLocks/>
          </p:cNvSpPr>
          <p:nvPr/>
        </p:nvSpPr>
        <p:spPr bwMode="auto">
          <a:xfrm>
            <a:off x="3772332" y="3260462"/>
            <a:ext cx="250261" cy="174560"/>
          </a:xfrm>
          <a:custGeom>
            <a:avLst/>
            <a:gdLst>
              <a:gd name="T0" fmla="*/ 281 w 281"/>
              <a:gd name="T1" fmla="*/ 189 h 196"/>
              <a:gd name="T2" fmla="*/ 246 w 281"/>
              <a:gd name="T3" fmla="*/ 196 h 196"/>
              <a:gd name="T4" fmla="*/ 220 w 281"/>
              <a:gd name="T5" fmla="*/ 196 h 196"/>
              <a:gd name="T6" fmla="*/ 186 w 281"/>
              <a:gd name="T7" fmla="*/ 189 h 196"/>
              <a:gd name="T8" fmla="*/ 144 w 281"/>
              <a:gd name="T9" fmla="*/ 163 h 196"/>
              <a:gd name="T10" fmla="*/ 127 w 281"/>
              <a:gd name="T11" fmla="*/ 146 h 196"/>
              <a:gd name="T12" fmla="*/ 101 w 281"/>
              <a:gd name="T13" fmla="*/ 146 h 196"/>
              <a:gd name="T14" fmla="*/ 92 w 281"/>
              <a:gd name="T15" fmla="*/ 130 h 196"/>
              <a:gd name="T16" fmla="*/ 75 w 281"/>
              <a:gd name="T17" fmla="*/ 139 h 196"/>
              <a:gd name="T18" fmla="*/ 59 w 281"/>
              <a:gd name="T19" fmla="*/ 139 h 196"/>
              <a:gd name="T20" fmla="*/ 42 w 281"/>
              <a:gd name="T21" fmla="*/ 139 h 196"/>
              <a:gd name="T22" fmla="*/ 26 w 281"/>
              <a:gd name="T23" fmla="*/ 113 h 196"/>
              <a:gd name="T24" fmla="*/ 33 w 281"/>
              <a:gd name="T25" fmla="*/ 87 h 196"/>
              <a:gd name="T26" fmla="*/ 26 w 281"/>
              <a:gd name="T27" fmla="*/ 68 h 196"/>
              <a:gd name="T28" fmla="*/ 26 w 281"/>
              <a:gd name="T29" fmla="*/ 45 h 196"/>
              <a:gd name="T30" fmla="*/ 59 w 281"/>
              <a:gd name="T31" fmla="*/ 28 h 196"/>
              <a:gd name="T32" fmla="*/ 82 w 281"/>
              <a:gd name="T33" fmla="*/ 28 h 196"/>
              <a:gd name="T34" fmla="*/ 101 w 281"/>
              <a:gd name="T35" fmla="*/ 19 h 196"/>
              <a:gd name="T36" fmla="*/ 111 w 281"/>
              <a:gd name="T37" fmla="*/ 9 h 196"/>
              <a:gd name="T38" fmla="*/ 118 w 281"/>
              <a:gd name="T39" fmla="*/ 0 h 196"/>
              <a:gd name="T40" fmla="*/ 137 w 281"/>
              <a:gd name="T41" fmla="*/ 9 h 196"/>
              <a:gd name="T42" fmla="*/ 146 w 281"/>
              <a:gd name="T43" fmla="*/ 19 h 196"/>
              <a:gd name="T44" fmla="*/ 177 w 281"/>
              <a:gd name="T45" fmla="*/ 35 h 196"/>
              <a:gd name="T46" fmla="*/ 153 w 281"/>
              <a:gd name="T47" fmla="*/ 52 h 196"/>
              <a:gd name="T48" fmla="*/ 196 w 281"/>
              <a:gd name="T49" fmla="*/ 68 h 196"/>
              <a:gd name="T50" fmla="*/ 212 w 281"/>
              <a:gd name="T51" fmla="*/ 87 h 196"/>
              <a:gd name="T52" fmla="*/ 189 w 281"/>
              <a:gd name="T53" fmla="*/ 94 h 196"/>
              <a:gd name="T54" fmla="*/ 222 w 281"/>
              <a:gd name="T55" fmla="*/ 113 h 196"/>
              <a:gd name="T56" fmla="*/ 255 w 281"/>
              <a:gd name="T57" fmla="*/ 130 h 196"/>
              <a:gd name="T58" fmla="*/ 274 w 281"/>
              <a:gd name="T59" fmla="*/ 139 h 196"/>
              <a:gd name="T60" fmla="*/ 274 w 281"/>
              <a:gd name="T61" fmla="*/ 146 h 196"/>
              <a:gd name="T62" fmla="*/ 281 w 281"/>
              <a:gd name="T63" fmla="*/ 189 h 1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81" h="196">
                <a:moveTo>
                  <a:pt x="281" y="180"/>
                </a:moveTo>
                <a:lnTo>
                  <a:pt x="281" y="189"/>
                </a:lnTo>
                <a:lnTo>
                  <a:pt x="265" y="189"/>
                </a:lnTo>
                <a:lnTo>
                  <a:pt x="246" y="196"/>
                </a:lnTo>
                <a:lnTo>
                  <a:pt x="239" y="196"/>
                </a:lnTo>
                <a:lnTo>
                  <a:pt x="220" y="196"/>
                </a:lnTo>
                <a:lnTo>
                  <a:pt x="196" y="196"/>
                </a:lnTo>
                <a:lnTo>
                  <a:pt x="186" y="189"/>
                </a:lnTo>
                <a:lnTo>
                  <a:pt x="170" y="180"/>
                </a:lnTo>
                <a:lnTo>
                  <a:pt x="144" y="163"/>
                </a:lnTo>
                <a:lnTo>
                  <a:pt x="144" y="156"/>
                </a:lnTo>
                <a:lnTo>
                  <a:pt x="127" y="146"/>
                </a:lnTo>
                <a:lnTo>
                  <a:pt x="118" y="146"/>
                </a:lnTo>
                <a:lnTo>
                  <a:pt x="101" y="146"/>
                </a:lnTo>
                <a:lnTo>
                  <a:pt x="101" y="139"/>
                </a:lnTo>
                <a:lnTo>
                  <a:pt x="92" y="130"/>
                </a:lnTo>
                <a:lnTo>
                  <a:pt x="82" y="139"/>
                </a:lnTo>
                <a:lnTo>
                  <a:pt x="75" y="139"/>
                </a:lnTo>
                <a:lnTo>
                  <a:pt x="68" y="139"/>
                </a:lnTo>
                <a:lnTo>
                  <a:pt x="59" y="139"/>
                </a:lnTo>
                <a:lnTo>
                  <a:pt x="49" y="139"/>
                </a:lnTo>
                <a:lnTo>
                  <a:pt x="42" y="139"/>
                </a:lnTo>
                <a:lnTo>
                  <a:pt x="33" y="130"/>
                </a:lnTo>
                <a:lnTo>
                  <a:pt x="26" y="113"/>
                </a:lnTo>
                <a:lnTo>
                  <a:pt x="26" y="104"/>
                </a:lnTo>
                <a:lnTo>
                  <a:pt x="33" y="87"/>
                </a:lnTo>
                <a:lnTo>
                  <a:pt x="26" y="78"/>
                </a:lnTo>
                <a:lnTo>
                  <a:pt x="26" y="68"/>
                </a:lnTo>
                <a:lnTo>
                  <a:pt x="0" y="61"/>
                </a:lnTo>
                <a:lnTo>
                  <a:pt x="26" y="45"/>
                </a:lnTo>
                <a:lnTo>
                  <a:pt x="42" y="35"/>
                </a:lnTo>
                <a:lnTo>
                  <a:pt x="59" y="28"/>
                </a:lnTo>
                <a:lnTo>
                  <a:pt x="75" y="28"/>
                </a:lnTo>
                <a:lnTo>
                  <a:pt x="82" y="28"/>
                </a:lnTo>
                <a:lnTo>
                  <a:pt x="82" y="19"/>
                </a:lnTo>
                <a:lnTo>
                  <a:pt x="101" y="19"/>
                </a:lnTo>
                <a:lnTo>
                  <a:pt x="111" y="19"/>
                </a:lnTo>
                <a:lnTo>
                  <a:pt x="111" y="9"/>
                </a:lnTo>
                <a:lnTo>
                  <a:pt x="111" y="0"/>
                </a:lnTo>
                <a:lnTo>
                  <a:pt x="118" y="0"/>
                </a:lnTo>
                <a:lnTo>
                  <a:pt x="118" y="0"/>
                </a:lnTo>
                <a:lnTo>
                  <a:pt x="137" y="9"/>
                </a:lnTo>
                <a:lnTo>
                  <a:pt x="137" y="19"/>
                </a:lnTo>
                <a:lnTo>
                  <a:pt x="146" y="19"/>
                </a:lnTo>
                <a:lnTo>
                  <a:pt x="153" y="19"/>
                </a:lnTo>
                <a:lnTo>
                  <a:pt x="177" y="35"/>
                </a:lnTo>
                <a:lnTo>
                  <a:pt x="170" y="45"/>
                </a:lnTo>
                <a:lnTo>
                  <a:pt x="153" y="52"/>
                </a:lnTo>
                <a:lnTo>
                  <a:pt x="177" y="68"/>
                </a:lnTo>
                <a:lnTo>
                  <a:pt x="196" y="68"/>
                </a:lnTo>
                <a:lnTo>
                  <a:pt x="212" y="78"/>
                </a:lnTo>
                <a:lnTo>
                  <a:pt x="212" y="87"/>
                </a:lnTo>
                <a:lnTo>
                  <a:pt x="205" y="94"/>
                </a:lnTo>
                <a:lnTo>
                  <a:pt x="189" y="94"/>
                </a:lnTo>
                <a:lnTo>
                  <a:pt x="196" y="104"/>
                </a:lnTo>
                <a:lnTo>
                  <a:pt x="222" y="113"/>
                </a:lnTo>
                <a:lnTo>
                  <a:pt x="239" y="130"/>
                </a:lnTo>
                <a:lnTo>
                  <a:pt x="255" y="130"/>
                </a:lnTo>
                <a:lnTo>
                  <a:pt x="265" y="130"/>
                </a:lnTo>
                <a:lnTo>
                  <a:pt x="274" y="139"/>
                </a:lnTo>
                <a:lnTo>
                  <a:pt x="265" y="146"/>
                </a:lnTo>
                <a:lnTo>
                  <a:pt x="274" y="146"/>
                </a:lnTo>
                <a:lnTo>
                  <a:pt x="281" y="156"/>
                </a:lnTo>
                <a:lnTo>
                  <a:pt x="281" y="189"/>
                </a:lnTo>
                <a:lnTo>
                  <a:pt x="281" y="18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0" name="Freeform 497">
            <a:extLst>
              <a:ext uri="{FF2B5EF4-FFF2-40B4-BE49-F238E27FC236}">
                <a16:creationId xmlns:a16="http://schemas.microsoft.com/office/drawing/2014/main" id="{DCB261E6-2ABE-4BD8-B5D4-7DD04BB6BB0F}"/>
              </a:ext>
            </a:extLst>
          </p:cNvPr>
          <p:cNvSpPr>
            <a:spLocks/>
          </p:cNvSpPr>
          <p:nvPr/>
        </p:nvSpPr>
        <p:spPr bwMode="auto">
          <a:xfrm>
            <a:off x="3504264" y="3148249"/>
            <a:ext cx="465787" cy="166544"/>
          </a:xfrm>
          <a:custGeom>
            <a:avLst/>
            <a:gdLst>
              <a:gd name="T0" fmla="*/ 284 w 523"/>
              <a:gd name="T1" fmla="*/ 187 h 187"/>
              <a:gd name="T2" fmla="*/ 275 w 523"/>
              <a:gd name="T3" fmla="*/ 178 h 187"/>
              <a:gd name="T4" fmla="*/ 265 w 523"/>
              <a:gd name="T5" fmla="*/ 171 h 187"/>
              <a:gd name="T6" fmla="*/ 239 w 523"/>
              <a:gd name="T7" fmla="*/ 171 h 187"/>
              <a:gd name="T8" fmla="*/ 222 w 523"/>
              <a:gd name="T9" fmla="*/ 178 h 187"/>
              <a:gd name="T10" fmla="*/ 180 w 523"/>
              <a:gd name="T11" fmla="*/ 178 h 187"/>
              <a:gd name="T12" fmla="*/ 173 w 523"/>
              <a:gd name="T13" fmla="*/ 187 h 187"/>
              <a:gd name="T14" fmla="*/ 163 w 523"/>
              <a:gd name="T15" fmla="*/ 178 h 187"/>
              <a:gd name="T16" fmla="*/ 173 w 523"/>
              <a:gd name="T17" fmla="*/ 154 h 187"/>
              <a:gd name="T18" fmla="*/ 180 w 523"/>
              <a:gd name="T19" fmla="*/ 145 h 187"/>
              <a:gd name="T20" fmla="*/ 154 w 523"/>
              <a:gd name="T21" fmla="*/ 119 h 187"/>
              <a:gd name="T22" fmla="*/ 137 w 523"/>
              <a:gd name="T23" fmla="*/ 95 h 187"/>
              <a:gd name="T24" fmla="*/ 130 w 523"/>
              <a:gd name="T25" fmla="*/ 76 h 187"/>
              <a:gd name="T26" fmla="*/ 104 w 523"/>
              <a:gd name="T27" fmla="*/ 76 h 187"/>
              <a:gd name="T28" fmla="*/ 85 w 523"/>
              <a:gd name="T29" fmla="*/ 59 h 187"/>
              <a:gd name="T30" fmla="*/ 69 w 523"/>
              <a:gd name="T31" fmla="*/ 50 h 187"/>
              <a:gd name="T32" fmla="*/ 52 w 523"/>
              <a:gd name="T33" fmla="*/ 59 h 187"/>
              <a:gd name="T34" fmla="*/ 36 w 523"/>
              <a:gd name="T35" fmla="*/ 50 h 187"/>
              <a:gd name="T36" fmla="*/ 0 w 523"/>
              <a:gd name="T37" fmla="*/ 43 h 187"/>
              <a:gd name="T38" fmla="*/ 10 w 523"/>
              <a:gd name="T39" fmla="*/ 26 h 187"/>
              <a:gd name="T40" fmla="*/ 36 w 523"/>
              <a:gd name="T41" fmla="*/ 26 h 187"/>
              <a:gd name="T42" fmla="*/ 52 w 523"/>
              <a:gd name="T43" fmla="*/ 0 h 187"/>
              <a:gd name="T44" fmla="*/ 88 w 523"/>
              <a:gd name="T45" fmla="*/ 17 h 187"/>
              <a:gd name="T46" fmla="*/ 130 w 523"/>
              <a:gd name="T47" fmla="*/ 17 h 187"/>
              <a:gd name="T48" fmla="*/ 147 w 523"/>
              <a:gd name="T49" fmla="*/ 26 h 187"/>
              <a:gd name="T50" fmla="*/ 180 w 523"/>
              <a:gd name="T51" fmla="*/ 26 h 187"/>
              <a:gd name="T52" fmla="*/ 213 w 523"/>
              <a:gd name="T53" fmla="*/ 17 h 187"/>
              <a:gd name="T54" fmla="*/ 249 w 523"/>
              <a:gd name="T55" fmla="*/ 26 h 187"/>
              <a:gd name="T56" fmla="*/ 275 w 523"/>
              <a:gd name="T57" fmla="*/ 26 h 187"/>
              <a:gd name="T58" fmla="*/ 275 w 523"/>
              <a:gd name="T59" fmla="*/ 43 h 187"/>
              <a:gd name="T60" fmla="*/ 310 w 523"/>
              <a:gd name="T61" fmla="*/ 43 h 187"/>
              <a:gd name="T62" fmla="*/ 334 w 523"/>
              <a:gd name="T63" fmla="*/ 26 h 187"/>
              <a:gd name="T64" fmla="*/ 360 w 523"/>
              <a:gd name="T65" fmla="*/ 33 h 187"/>
              <a:gd name="T66" fmla="*/ 369 w 523"/>
              <a:gd name="T67" fmla="*/ 17 h 187"/>
              <a:gd name="T68" fmla="*/ 386 w 523"/>
              <a:gd name="T69" fmla="*/ 17 h 187"/>
              <a:gd name="T70" fmla="*/ 405 w 523"/>
              <a:gd name="T71" fmla="*/ 26 h 187"/>
              <a:gd name="T72" fmla="*/ 419 w 523"/>
              <a:gd name="T73" fmla="*/ 17 h 187"/>
              <a:gd name="T74" fmla="*/ 438 w 523"/>
              <a:gd name="T75" fmla="*/ 33 h 187"/>
              <a:gd name="T76" fmla="*/ 447 w 523"/>
              <a:gd name="T77" fmla="*/ 50 h 187"/>
              <a:gd name="T78" fmla="*/ 471 w 523"/>
              <a:gd name="T79" fmla="*/ 43 h 187"/>
              <a:gd name="T80" fmla="*/ 490 w 523"/>
              <a:gd name="T81" fmla="*/ 50 h 187"/>
              <a:gd name="T82" fmla="*/ 490 w 523"/>
              <a:gd name="T83" fmla="*/ 76 h 187"/>
              <a:gd name="T84" fmla="*/ 523 w 523"/>
              <a:gd name="T85" fmla="*/ 95 h 187"/>
              <a:gd name="T86" fmla="*/ 523 w 523"/>
              <a:gd name="T87" fmla="*/ 119 h 187"/>
              <a:gd name="T88" fmla="*/ 490 w 523"/>
              <a:gd name="T89" fmla="*/ 119 h 187"/>
              <a:gd name="T90" fmla="*/ 471 w 523"/>
              <a:gd name="T91" fmla="*/ 119 h 187"/>
              <a:gd name="T92" fmla="*/ 438 w 523"/>
              <a:gd name="T93" fmla="*/ 100 h 187"/>
              <a:gd name="T94" fmla="*/ 419 w 523"/>
              <a:gd name="T95" fmla="*/ 126 h 187"/>
              <a:gd name="T96" fmla="*/ 412 w 523"/>
              <a:gd name="T97" fmla="*/ 135 h 187"/>
              <a:gd name="T98" fmla="*/ 405 w 523"/>
              <a:gd name="T99" fmla="*/ 145 h 187"/>
              <a:gd name="T100" fmla="*/ 386 w 523"/>
              <a:gd name="T101" fmla="*/ 154 h 187"/>
              <a:gd name="T102" fmla="*/ 360 w 523"/>
              <a:gd name="T103" fmla="*/ 154 h 187"/>
              <a:gd name="T104" fmla="*/ 327 w 523"/>
              <a:gd name="T105" fmla="*/ 171 h 187"/>
              <a:gd name="T106" fmla="*/ 301 w 523"/>
              <a:gd name="T107" fmla="*/ 187 h 1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23" h="187">
                <a:moveTo>
                  <a:pt x="301" y="187"/>
                </a:moveTo>
                <a:lnTo>
                  <a:pt x="284" y="187"/>
                </a:lnTo>
                <a:lnTo>
                  <a:pt x="275" y="187"/>
                </a:lnTo>
                <a:lnTo>
                  <a:pt x="275" y="178"/>
                </a:lnTo>
                <a:lnTo>
                  <a:pt x="275" y="171"/>
                </a:lnTo>
                <a:lnTo>
                  <a:pt x="265" y="171"/>
                </a:lnTo>
                <a:lnTo>
                  <a:pt x="249" y="161"/>
                </a:lnTo>
                <a:lnTo>
                  <a:pt x="239" y="171"/>
                </a:lnTo>
                <a:lnTo>
                  <a:pt x="232" y="171"/>
                </a:lnTo>
                <a:lnTo>
                  <a:pt x="222" y="178"/>
                </a:lnTo>
                <a:lnTo>
                  <a:pt x="189" y="178"/>
                </a:lnTo>
                <a:lnTo>
                  <a:pt x="180" y="178"/>
                </a:lnTo>
                <a:lnTo>
                  <a:pt x="173" y="178"/>
                </a:lnTo>
                <a:lnTo>
                  <a:pt x="173" y="187"/>
                </a:lnTo>
                <a:lnTo>
                  <a:pt x="163" y="187"/>
                </a:lnTo>
                <a:lnTo>
                  <a:pt x="163" y="178"/>
                </a:lnTo>
                <a:lnTo>
                  <a:pt x="163" y="171"/>
                </a:lnTo>
                <a:lnTo>
                  <a:pt x="173" y="154"/>
                </a:lnTo>
                <a:lnTo>
                  <a:pt x="180" y="154"/>
                </a:lnTo>
                <a:lnTo>
                  <a:pt x="180" y="145"/>
                </a:lnTo>
                <a:lnTo>
                  <a:pt x="173" y="135"/>
                </a:lnTo>
                <a:lnTo>
                  <a:pt x="154" y="119"/>
                </a:lnTo>
                <a:lnTo>
                  <a:pt x="147" y="109"/>
                </a:lnTo>
                <a:lnTo>
                  <a:pt x="137" y="95"/>
                </a:lnTo>
                <a:lnTo>
                  <a:pt x="137" y="85"/>
                </a:lnTo>
                <a:lnTo>
                  <a:pt x="130" y="76"/>
                </a:lnTo>
                <a:lnTo>
                  <a:pt x="111" y="76"/>
                </a:lnTo>
                <a:lnTo>
                  <a:pt x="104" y="76"/>
                </a:lnTo>
                <a:lnTo>
                  <a:pt x="104" y="59"/>
                </a:lnTo>
                <a:lnTo>
                  <a:pt x="85" y="59"/>
                </a:lnTo>
                <a:lnTo>
                  <a:pt x="78" y="50"/>
                </a:lnTo>
                <a:lnTo>
                  <a:pt x="69" y="50"/>
                </a:lnTo>
                <a:lnTo>
                  <a:pt x="59" y="59"/>
                </a:lnTo>
                <a:lnTo>
                  <a:pt x="52" y="59"/>
                </a:lnTo>
                <a:lnTo>
                  <a:pt x="43" y="50"/>
                </a:lnTo>
                <a:lnTo>
                  <a:pt x="36" y="50"/>
                </a:lnTo>
                <a:lnTo>
                  <a:pt x="26" y="50"/>
                </a:lnTo>
                <a:lnTo>
                  <a:pt x="0" y="43"/>
                </a:lnTo>
                <a:lnTo>
                  <a:pt x="2" y="43"/>
                </a:lnTo>
                <a:lnTo>
                  <a:pt x="10" y="26"/>
                </a:lnTo>
                <a:lnTo>
                  <a:pt x="19" y="26"/>
                </a:lnTo>
                <a:lnTo>
                  <a:pt x="36" y="26"/>
                </a:lnTo>
                <a:lnTo>
                  <a:pt x="45" y="17"/>
                </a:lnTo>
                <a:lnTo>
                  <a:pt x="52" y="0"/>
                </a:lnTo>
                <a:lnTo>
                  <a:pt x="71" y="7"/>
                </a:lnTo>
                <a:lnTo>
                  <a:pt x="88" y="17"/>
                </a:lnTo>
                <a:lnTo>
                  <a:pt x="95" y="17"/>
                </a:lnTo>
                <a:lnTo>
                  <a:pt x="130" y="17"/>
                </a:lnTo>
                <a:lnTo>
                  <a:pt x="137" y="26"/>
                </a:lnTo>
                <a:lnTo>
                  <a:pt x="147" y="26"/>
                </a:lnTo>
                <a:lnTo>
                  <a:pt x="166" y="26"/>
                </a:lnTo>
                <a:lnTo>
                  <a:pt x="180" y="26"/>
                </a:lnTo>
                <a:lnTo>
                  <a:pt x="206" y="17"/>
                </a:lnTo>
                <a:lnTo>
                  <a:pt x="213" y="17"/>
                </a:lnTo>
                <a:lnTo>
                  <a:pt x="225" y="26"/>
                </a:lnTo>
                <a:lnTo>
                  <a:pt x="249" y="26"/>
                </a:lnTo>
                <a:lnTo>
                  <a:pt x="267" y="26"/>
                </a:lnTo>
                <a:lnTo>
                  <a:pt x="275" y="26"/>
                </a:lnTo>
                <a:lnTo>
                  <a:pt x="284" y="33"/>
                </a:lnTo>
                <a:lnTo>
                  <a:pt x="275" y="43"/>
                </a:lnTo>
                <a:lnTo>
                  <a:pt x="293" y="43"/>
                </a:lnTo>
                <a:lnTo>
                  <a:pt x="310" y="43"/>
                </a:lnTo>
                <a:lnTo>
                  <a:pt x="317" y="33"/>
                </a:lnTo>
                <a:lnTo>
                  <a:pt x="334" y="26"/>
                </a:lnTo>
                <a:lnTo>
                  <a:pt x="353" y="33"/>
                </a:lnTo>
                <a:lnTo>
                  <a:pt x="360" y="33"/>
                </a:lnTo>
                <a:lnTo>
                  <a:pt x="369" y="26"/>
                </a:lnTo>
                <a:lnTo>
                  <a:pt x="369" y="17"/>
                </a:lnTo>
                <a:lnTo>
                  <a:pt x="376" y="17"/>
                </a:lnTo>
                <a:lnTo>
                  <a:pt x="386" y="17"/>
                </a:lnTo>
                <a:lnTo>
                  <a:pt x="386" y="33"/>
                </a:lnTo>
                <a:lnTo>
                  <a:pt x="405" y="26"/>
                </a:lnTo>
                <a:lnTo>
                  <a:pt x="405" y="17"/>
                </a:lnTo>
                <a:lnTo>
                  <a:pt x="419" y="17"/>
                </a:lnTo>
                <a:lnTo>
                  <a:pt x="438" y="26"/>
                </a:lnTo>
                <a:lnTo>
                  <a:pt x="438" y="33"/>
                </a:lnTo>
                <a:lnTo>
                  <a:pt x="438" y="43"/>
                </a:lnTo>
                <a:lnTo>
                  <a:pt x="447" y="50"/>
                </a:lnTo>
                <a:lnTo>
                  <a:pt x="461" y="43"/>
                </a:lnTo>
                <a:lnTo>
                  <a:pt x="471" y="43"/>
                </a:lnTo>
                <a:lnTo>
                  <a:pt x="497" y="50"/>
                </a:lnTo>
                <a:lnTo>
                  <a:pt x="490" y="50"/>
                </a:lnTo>
                <a:lnTo>
                  <a:pt x="490" y="69"/>
                </a:lnTo>
                <a:lnTo>
                  <a:pt x="490" y="76"/>
                </a:lnTo>
                <a:lnTo>
                  <a:pt x="513" y="85"/>
                </a:lnTo>
                <a:lnTo>
                  <a:pt x="523" y="95"/>
                </a:lnTo>
                <a:lnTo>
                  <a:pt x="523" y="100"/>
                </a:lnTo>
                <a:lnTo>
                  <a:pt x="523" y="119"/>
                </a:lnTo>
                <a:lnTo>
                  <a:pt x="513" y="119"/>
                </a:lnTo>
                <a:lnTo>
                  <a:pt x="490" y="119"/>
                </a:lnTo>
                <a:lnTo>
                  <a:pt x="490" y="126"/>
                </a:lnTo>
                <a:lnTo>
                  <a:pt x="471" y="119"/>
                </a:lnTo>
                <a:lnTo>
                  <a:pt x="454" y="119"/>
                </a:lnTo>
                <a:lnTo>
                  <a:pt x="438" y="100"/>
                </a:lnTo>
                <a:lnTo>
                  <a:pt x="428" y="109"/>
                </a:lnTo>
                <a:lnTo>
                  <a:pt x="419" y="126"/>
                </a:lnTo>
                <a:lnTo>
                  <a:pt x="412" y="126"/>
                </a:lnTo>
                <a:lnTo>
                  <a:pt x="412" y="135"/>
                </a:lnTo>
                <a:lnTo>
                  <a:pt x="412" y="145"/>
                </a:lnTo>
                <a:lnTo>
                  <a:pt x="405" y="145"/>
                </a:lnTo>
                <a:lnTo>
                  <a:pt x="386" y="145"/>
                </a:lnTo>
                <a:lnTo>
                  <a:pt x="386" y="154"/>
                </a:lnTo>
                <a:lnTo>
                  <a:pt x="376" y="154"/>
                </a:lnTo>
                <a:lnTo>
                  <a:pt x="360" y="154"/>
                </a:lnTo>
                <a:lnTo>
                  <a:pt x="343" y="161"/>
                </a:lnTo>
                <a:lnTo>
                  <a:pt x="327" y="171"/>
                </a:lnTo>
                <a:lnTo>
                  <a:pt x="301" y="187"/>
                </a:lnTo>
                <a:lnTo>
                  <a:pt x="301" y="187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1" name="Freeform 539">
            <a:extLst>
              <a:ext uri="{FF2B5EF4-FFF2-40B4-BE49-F238E27FC236}">
                <a16:creationId xmlns:a16="http://schemas.microsoft.com/office/drawing/2014/main" id="{13D5C6AB-F000-439E-9F50-0D966F893535}"/>
              </a:ext>
            </a:extLst>
          </p:cNvPr>
          <p:cNvSpPr>
            <a:spLocks/>
          </p:cNvSpPr>
          <p:nvPr/>
        </p:nvSpPr>
        <p:spPr bwMode="auto">
          <a:xfrm>
            <a:off x="1631320" y="1050876"/>
            <a:ext cx="977885" cy="1050023"/>
          </a:xfrm>
          <a:custGeom>
            <a:avLst/>
            <a:gdLst>
              <a:gd name="T0" fmla="*/ 319 w 1098"/>
              <a:gd name="T1" fmla="*/ 1084 h 1179"/>
              <a:gd name="T2" fmla="*/ 379 w 1098"/>
              <a:gd name="T3" fmla="*/ 1008 h 1179"/>
              <a:gd name="T4" fmla="*/ 397 w 1098"/>
              <a:gd name="T5" fmla="*/ 897 h 1179"/>
              <a:gd name="T6" fmla="*/ 388 w 1098"/>
              <a:gd name="T7" fmla="*/ 810 h 1179"/>
              <a:gd name="T8" fmla="*/ 397 w 1098"/>
              <a:gd name="T9" fmla="*/ 698 h 1179"/>
              <a:gd name="T10" fmla="*/ 476 w 1098"/>
              <a:gd name="T11" fmla="*/ 672 h 1179"/>
              <a:gd name="T12" fmla="*/ 492 w 1098"/>
              <a:gd name="T13" fmla="*/ 585 h 1179"/>
              <a:gd name="T14" fmla="*/ 535 w 1098"/>
              <a:gd name="T15" fmla="*/ 474 h 1179"/>
              <a:gd name="T16" fmla="*/ 603 w 1098"/>
              <a:gd name="T17" fmla="*/ 388 h 1179"/>
              <a:gd name="T18" fmla="*/ 648 w 1098"/>
              <a:gd name="T19" fmla="*/ 301 h 1179"/>
              <a:gd name="T20" fmla="*/ 707 w 1098"/>
              <a:gd name="T21" fmla="*/ 277 h 1179"/>
              <a:gd name="T22" fmla="*/ 759 w 1098"/>
              <a:gd name="T23" fmla="*/ 189 h 1179"/>
              <a:gd name="T24" fmla="*/ 828 w 1098"/>
              <a:gd name="T25" fmla="*/ 242 h 1179"/>
              <a:gd name="T26" fmla="*/ 916 w 1098"/>
              <a:gd name="T27" fmla="*/ 216 h 1179"/>
              <a:gd name="T28" fmla="*/ 958 w 1098"/>
              <a:gd name="T29" fmla="*/ 121 h 1179"/>
              <a:gd name="T30" fmla="*/ 1036 w 1098"/>
              <a:gd name="T31" fmla="*/ 147 h 1179"/>
              <a:gd name="T32" fmla="*/ 1036 w 1098"/>
              <a:gd name="T33" fmla="*/ 206 h 1179"/>
              <a:gd name="T34" fmla="*/ 1069 w 1098"/>
              <a:gd name="T35" fmla="*/ 111 h 1179"/>
              <a:gd name="T36" fmla="*/ 1079 w 1098"/>
              <a:gd name="T37" fmla="*/ 52 h 1179"/>
              <a:gd name="T38" fmla="*/ 1001 w 1098"/>
              <a:gd name="T39" fmla="*/ 52 h 1179"/>
              <a:gd name="T40" fmla="*/ 965 w 1098"/>
              <a:gd name="T41" fmla="*/ 19 h 1179"/>
              <a:gd name="T42" fmla="*/ 932 w 1098"/>
              <a:gd name="T43" fmla="*/ 36 h 1179"/>
              <a:gd name="T44" fmla="*/ 897 w 1098"/>
              <a:gd name="T45" fmla="*/ 88 h 1179"/>
              <a:gd name="T46" fmla="*/ 923 w 1098"/>
              <a:gd name="T47" fmla="*/ 0 h 1179"/>
              <a:gd name="T48" fmla="*/ 854 w 1098"/>
              <a:gd name="T49" fmla="*/ 43 h 1179"/>
              <a:gd name="T50" fmla="*/ 821 w 1098"/>
              <a:gd name="T51" fmla="*/ 95 h 1179"/>
              <a:gd name="T52" fmla="*/ 769 w 1098"/>
              <a:gd name="T53" fmla="*/ 111 h 1179"/>
              <a:gd name="T54" fmla="*/ 733 w 1098"/>
              <a:gd name="T55" fmla="*/ 147 h 1179"/>
              <a:gd name="T56" fmla="*/ 698 w 1098"/>
              <a:gd name="T57" fmla="*/ 173 h 1179"/>
              <a:gd name="T58" fmla="*/ 655 w 1098"/>
              <a:gd name="T59" fmla="*/ 216 h 1179"/>
              <a:gd name="T60" fmla="*/ 613 w 1098"/>
              <a:gd name="T61" fmla="*/ 277 h 1179"/>
              <a:gd name="T62" fmla="*/ 596 w 1098"/>
              <a:gd name="T63" fmla="*/ 294 h 1179"/>
              <a:gd name="T64" fmla="*/ 577 w 1098"/>
              <a:gd name="T65" fmla="*/ 320 h 1179"/>
              <a:gd name="T66" fmla="*/ 570 w 1098"/>
              <a:gd name="T67" fmla="*/ 336 h 1179"/>
              <a:gd name="T68" fmla="*/ 544 w 1098"/>
              <a:gd name="T69" fmla="*/ 379 h 1179"/>
              <a:gd name="T70" fmla="*/ 483 w 1098"/>
              <a:gd name="T71" fmla="*/ 414 h 1179"/>
              <a:gd name="T72" fmla="*/ 483 w 1098"/>
              <a:gd name="T73" fmla="*/ 464 h 1179"/>
              <a:gd name="T74" fmla="*/ 431 w 1098"/>
              <a:gd name="T75" fmla="*/ 509 h 1179"/>
              <a:gd name="T76" fmla="*/ 423 w 1098"/>
              <a:gd name="T77" fmla="*/ 542 h 1179"/>
              <a:gd name="T78" fmla="*/ 397 w 1098"/>
              <a:gd name="T79" fmla="*/ 604 h 1179"/>
              <a:gd name="T80" fmla="*/ 345 w 1098"/>
              <a:gd name="T81" fmla="*/ 620 h 1179"/>
              <a:gd name="T82" fmla="*/ 293 w 1098"/>
              <a:gd name="T83" fmla="*/ 672 h 1179"/>
              <a:gd name="T84" fmla="*/ 232 w 1098"/>
              <a:gd name="T85" fmla="*/ 705 h 1179"/>
              <a:gd name="T86" fmla="*/ 199 w 1098"/>
              <a:gd name="T87" fmla="*/ 732 h 1179"/>
              <a:gd name="T88" fmla="*/ 144 w 1098"/>
              <a:gd name="T89" fmla="*/ 748 h 1179"/>
              <a:gd name="T90" fmla="*/ 102 w 1098"/>
              <a:gd name="T91" fmla="*/ 774 h 1179"/>
              <a:gd name="T92" fmla="*/ 69 w 1098"/>
              <a:gd name="T93" fmla="*/ 800 h 1179"/>
              <a:gd name="T94" fmla="*/ 52 w 1098"/>
              <a:gd name="T95" fmla="*/ 843 h 1179"/>
              <a:gd name="T96" fmla="*/ 33 w 1098"/>
              <a:gd name="T97" fmla="*/ 869 h 1179"/>
              <a:gd name="T98" fmla="*/ 26 w 1098"/>
              <a:gd name="T99" fmla="*/ 930 h 1179"/>
              <a:gd name="T100" fmla="*/ 78 w 1098"/>
              <a:gd name="T101" fmla="*/ 956 h 1179"/>
              <a:gd name="T102" fmla="*/ 26 w 1098"/>
              <a:gd name="T103" fmla="*/ 1008 h 1179"/>
              <a:gd name="T104" fmla="*/ 43 w 1098"/>
              <a:gd name="T105" fmla="*/ 1042 h 1179"/>
              <a:gd name="T106" fmla="*/ 17 w 1098"/>
              <a:gd name="T107" fmla="*/ 1110 h 1179"/>
              <a:gd name="T108" fmla="*/ 95 w 1098"/>
              <a:gd name="T109" fmla="*/ 1179 h 1179"/>
              <a:gd name="T110" fmla="*/ 199 w 1098"/>
              <a:gd name="T111" fmla="*/ 1127 h 1179"/>
              <a:gd name="T112" fmla="*/ 267 w 1098"/>
              <a:gd name="T113" fmla="*/ 1084 h 1179"/>
              <a:gd name="T114" fmla="*/ 293 w 1098"/>
              <a:gd name="T115" fmla="*/ 1051 h 1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98" h="1179">
                <a:moveTo>
                  <a:pt x="303" y="1103"/>
                </a:moveTo>
                <a:lnTo>
                  <a:pt x="310" y="1103"/>
                </a:lnTo>
                <a:lnTo>
                  <a:pt x="310" y="1110"/>
                </a:lnTo>
                <a:lnTo>
                  <a:pt x="319" y="1120"/>
                </a:lnTo>
                <a:lnTo>
                  <a:pt x="329" y="1110"/>
                </a:lnTo>
                <a:lnTo>
                  <a:pt x="329" y="1103"/>
                </a:lnTo>
                <a:lnTo>
                  <a:pt x="329" y="1094"/>
                </a:lnTo>
                <a:lnTo>
                  <a:pt x="319" y="1084"/>
                </a:lnTo>
                <a:lnTo>
                  <a:pt x="336" y="1068"/>
                </a:lnTo>
                <a:lnTo>
                  <a:pt x="336" y="1061"/>
                </a:lnTo>
                <a:lnTo>
                  <a:pt x="345" y="1051"/>
                </a:lnTo>
                <a:lnTo>
                  <a:pt x="345" y="1042"/>
                </a:lnTo>
                <a:lnTo>
                  <a:pt x="352" y="1034"/>
                </a:lnTo>
                <a:lnTo>
                  <a:pt x="362" y="1034"/>
                </a:lnTo>
                <a:lnTo>
                  <a:pt x="371" y="1034"/>
                </a:lnTo>
                <a:lnTo>
                  <a:pt x="379" y="1008"/>
                </a:lnTo>
                <a:lnTo>
                  <a:pt x="379" y="980"/>
                </a:lnTo>
                <a:lnTo>
                  <a:pt x="379" y="973"/>
                </a:lnTo>
                <a:lnTo>
                  <a:pt x="379" y="963"/>
                </a:lnTo>
                <a:lnTo>
                  <a:pt x="371" y="947"/>
                </a:lnTo>
                <a:lnTo>
                  <a:pt x="371" y="937"/>
                </a:lnTo>
                <a:lnTo>
                  <a:pt x="397" y="921"/>
                </a:lnTo>
                <a:lnTo>
                  <a:pt x="397" y="911"/>
                </a:lnTo>
                <a:lnTo>
                  <a:pt x="397" y="897"/>
                </a:lnTo>
                <a:lnTo>
                  <a:pt x="397" y="888"/>
                </a:lnTo>
                <a:lnTo>
                  <a:pt x="388" y="878"/>
                </a:lnTo>
                <a:lnTo>
                  <a:pt x="379" y="869"/>
                </a:lnTo>
                <a:lnTo>
                  <a:pt x="379" y="862"/>
                </a:lnTo>
                <a:lnTo>
                  <a:pt x="379" y="852"/>
                </a:lnTo>
                <a:lnTo>
                  <a:pt x="388" y="836"/>
                </a:lnTo>
                <a:lnTo>
                  <a:pt x="388" y="826"/>
                </a:lnTo>
                <a:lnTo>
                  <a:pt x="388" y="810"/>
                </a:lnTo>
                <a:lnTo>
                  <a:pt x="379" y="800"/>
                </a:lnTo>
                <a:lnTo>
                  <a:pt x="379" y="793"/>
                </a:lnTo>
                <a:lnTo>
                  <a:pt x="379" y="774"/>
                </a:lnTo>
                <a:lnTo>
                  <a:pt x="388" y="767"/>
                </a:lnTo>
                <a:lnTo>
                  <a:pt x="388" y="748"/>
                </a:lnTo>
                <a:lnTo>
                  <a:pt x="388" y="732"/>
                </a:lnTo>
                <a:lnTo>
                  <a:pt x="388" y="715"/>
                </a:lnTo>
                <a:lnTo>
                  <a:pt x="397" y="698"/>
                </a:lnTo>
                <a:lnTo>
                  <a:pt x="407" y="689"/>
                </a:lnTo>
                <a:lnTo>
                  <a:pt x="423" y="679"/>
                </a:lnTo>
                <a:lnTo>
                  <a:pt x="423" y="689"/>
                </a:lnTo>
                <a:lnTo>
                  <a:pt x="431" y="689"/>
                </a:lnTo>
                <a:lnTo>
                  <a:pt x="440" y="679"/>
                </a:lnTo>
                <a:lnTo>
                  <a:pt x="447" y="672"/>
                </a:lnTo>
                <a:lnTo>
                  <a:pt x="457" y="672"/>
                </a:lnTo>
                <a:lnTo>
                  <a:pt x="476" y="672"/>
                </a:lnTo>
                <a:lnTo>
                  <a:pt x="483" y="663"/>
                </a:lnTo>
                <a:lnTo>
                  <a:pt x="476" y="646"/>
                </a:lnTo>
                <a:lnTo>
                  <a:pt x="476" y="637"/>
                </a:lnTo>
                <a:lnTo>
                  <a:pt x="476" y="630"/>
                </a:lnTo>
                <a:lnTo>
                  <a:pt x="466" y="611"/>
                </a:lnTo>
                <a:lnTo>
                  <a:pt x="476" y="604"/>
                </a:lnTo>
                <a:lnTo>
                  <a:pt x="492" y="594"/>
                </a:lnTo>
                <a:lnTo>
                  <a:pt x="492" y="585"/>
                </a:lnTo>
                <a:lnTo>
                  <a:pt x="502" y="561"/>
                </a:lnTo>
                <a:lnTo>
                  <a:pt x="502" y="552"/>
                </a:lnTo>
                <a:lnTo>
                  <a:pt x="502" y="542"/>
                </a:lnTo>
                <a:lnTo>
                  <a:pt x="502" y="526"/>
                </a:lnTo>
                <a:lnTo>
                  <a:pt x="509" y="518"/>
                </a:lnTo>
                <a:lnTo>
                  <a:pt x="518" y="500"/>
                </a:lnTo>
                <a:lnTo>
                  <a:pt x="518" y="483"/>
                </a:lnTo>
                <a:lnTo>
                  <a:pt x="535" y="474"/>
                </a:lnTo>
                <a:lnTo>
                  <a:pt x="551" y="464"/>
                </a:lnTo>
                <a:lnTo>
                  <a:pt x="561" y="457"/>
                </a:lnTo>
                <a:lnTo>
                  <a:pt x="561" y="447"/>
                </a:lnTo>
                <a:lnTo>
                  <a:pt x="561" y="431"/>
                </a:lnTo>
                <a:lnTo>
                  <a:pt x="577" y="421"/>
                </a:lnTo>
                <a:lnTo>
                  <a:pt x="596" y="405"/>
                </a:lnTo>
                <a:lnTo>
                  <a:pt x="596" y="395"/>
                </a:lnTo>
                <a:lnTo>
                  <a:pt x="603" y="388"/>
                </a:lnTo>
                <a:lnTo>
                  <a:pt x="596" y="369"/>
                </a:lnTo>
                <a:lnTo>
                  <a:pt x="587" y="362"/>
                </a:lnTo>
                <a:lnTo>
                  <a:pt x="596" y="353"/>
                </a:lnTo>
                <a:lnTo>
                  <a:pt x="603" y="346"/>
                </a:lnTo>
                <a:lnTo>
                  <a:pt x="629" y="327"/>
                </a:lnTo>
                <a:lnTo>
                  <a:pt x="629" y="320"/>
                </a:lnTo>
                <a:lnTo>
                  <a:pt x="639" y="301"/>
                </a:lnTo>
                <a:lnTo>
                  <a:pt x="648" y="301"/>
                </a:lnTo>
                <a:lnTo>
                  <a:pt x="665" y="310"/>
                </a:lnTo>
                <a:lnTo>
                  <a:pt x="674" y="310"/>
                </a:lnTo>
                <a:lnTo>
                  <a:pt x="674" y="301"/>
                </a:lnTo>
                <a:lnTo>
                  <a:pt x="674" y="284"/>
                </a:lnTo>
                <a:lnTo>
                  <a:pt x="691" y="277"/>
                </a:lnTo>
                <a:lnTo>
                  <a:pt x="700" y="284"/>
                </a:lnTo>
                <a:lnTo>
                  <a:pt x="707" y="284"/>
                </a:lnTo>
                <a:lnTo>
                  <a:pt x="707" y="277"/>
                </a:lnTo>
                <a:lnTo>
                  <a:pt x="717" y="251"/>
                </a:lnTo>
                <a:lnTo>
                  <a:pt x="733" y="258"/>
                </a:lnTo>
                <a:lnTo>
                  <a:pt x="733" y="251"/>
                </a:lnTo>
                <a:lnTo>
                  <a:pt x="733" y="232"/>
                </a:lnTo>
                <a:lnTo>
                  <a:pt x="733" y="225"/>
                </a:lnTo>
                <a:lnTo>
                  <a:pt x="750" y="225"/>
                </a:lnTo>
                <a:lnTo>
                  <a:pt x="750" y="206"/>
                </a:lnTo>
                <a:lnTo>
                  <a:pt x="759" y="189"/>
                </a:lnTo>
                <a:lnTo>
                  <a:pt x="769" y="189"/>
                </a:lnTo>
                <a:lnTo>
                  <a:pt x="776" y="199"/>
                </a:lnTo>
                <a:lnTo>
                  <a:pt x="795" y="206"/>
                </a:lnTo>
                <a:lnTo>
                  <a:pt x="795" y="216"/>
                </a:lnTo>
                <a:lnTo>
                  <a:pt x="802" y="232"/>
                </a:lnTo>
                <a:lnTo>
                  <a:pt x="811" y="232"/>
                </a:lnTo>
                <a:lnTo>
                  <a:pt x="821" y="232"/>
                </a:lnTo>
                <a:lnTo>
                  <a:pt x="828" y="242"/>
                </a:lnTo>
                <a:lnTo>
                  <a:pt x="854" y="242"/>
                </a:lnTo>
                <a:lnTo>
                  <a:pt x="863" y="232"/>
                </a:lnTo>
                <a:lnTo>
                  <a:pt x="873" y="232"/>
                </a:lnTo>
                <a:lnTo>
                  <a:pt x="880" y="251"/>
                </a:lnTo>
                <a:lnTo>
                  <a:pt x="897" y="242"/>
                </a:lnTo>
                <a:lnTo>
                  <a:pt x="906" y="242"/>
                </a:lnTo>
                <a:lnTo>
                  <a:pt x="906" y="232"/>
                </a:lnTo>
                <a:lnTo>
                  <a:pt x="916" y="216"/>
                </a:lnTo>
                <a:lnTo>
                  <a:pt x="923" y="206"/>
                </a:lnTo>
                <a:lnTo>
                  <a:pt x="923" y="199"/>
                </a:lnTo>
                <a:lnTo>
                  <a:pt x="923" y="189"/>
                </a:lnTo>
                <a:lnTo>
                  <a:pt x="923" y="182"/>
                </a:lnTo>
                <a:lnTo>
                  <a:pt x="932" y="163"/>
                </a:lnTo>
                <a:lnTo>
                  <a:pt x="932" y="130"/>
                </a:lnTo>
                <a:lnTo>
                  <a:pt x="942" y="121"/>
                </a:lnTo>
                <a:lnTo>
                  <a:pt x="958" y="121"/>
                </a:lnTo>
                <a:lnTo>
                  <a:pt x="975" y="111"/>
                </a:lnTo>
                <a:lnTo>
                  <a:pt x="984" y="104"/>
                </a:lnTo>
                <a:lnTo>
                  <a:pt x="994" y="104"/>
                </a:lnTo>
                <a:lnTo>
                  <a:pt x="984" y="121"/>
                </a:lnTo>
                <a:lnTo>
                  <a:pt x="1010" y="130"/>
                </a:lnTo>
                <a:lnTo>
                  <a:pt x="1020" y="130"/>
                </a:lnTo>
                <a:lnTo>
                  <a:pt x="1027" y="137"/>
                </a:lnTo>
                <a:lnTo>
                  <a:pt x="1036" y="147"/>
                </a:lnTo>
                <a:lnTo>
                  <a:pt x="1036" y="156"/>
                </a:lnTo>
                <a:lnTo>
                  <a:pt x="1027" y="163"/>
                </a:lnTo>
                <a:lnTo>
                  <a:pt x="1027" y="182"/>
                </a:lnTo>
                <a:lnTo>
                  <a:pt x="1027" y="189"/>
                </a:lnTo>
                <a:lnTo>
                  <a:pt x="1027" y="199"/>
                </a:lnTo>
                <a:lnTo>
                  <a:pt x="1027" y="206"/>
                </a:lnTo>
                <a:lnTo>
                  <a:pt x="1036" y="206"/>
                </a:lnTo>
                <a:lnTo>
                  <a:pt x="1036" y="206"/>
                </a:lnTo>
                <a:lnTo>
                  <a:pt x="1041" y="175"/>
                </a:lnTo>
                <a:lnTo>
                  <a:pt x="1053" y="156"/>
                </a:lnTo>
                <a:lnTo>
                  <a:pt x="1069" y="147"/>
                </a:lnTo>
                <a:lnTo>
                  <a:pt x="1091" y="142"/>
                </a:lnTo>
                <a:lnTo>
                  <a:pt x="1098" y="111"/>
                </a:lnTo>
                <a:lnTo>
                  <a:pt x="1095" y="111"/>
                </a:lnTo>
                <a:lnTo>
                  <a:pt x="1079" y="111"/>
                </a:lnTo>
                <a:lnTo>
                  <a:pt x="1069" y="111"/>
                </a:lnTo>
                <a:lnTo>
                  <a:pt x="1079" y="104"/>
                </a:lnTo>
                <a:lnTo>
                  <a:pt x="1079" y="88"/>
                </a:lnTo>
                <a:lnTo>
                  <a:pt x="1069" y="78"/>
                </a:lnTo>
                <a:lnTo>
                  <a:pt x="1079" y="78"/>
                </a:lnTo>
                <a:lnTo>
                  <a:pt x="1088" y="69"/>
                </a:lnTo>
                <a:lnTo>
                  <a:pt x="1088" y="62"/>
                </a:lnTo>
                <a:lnTo>
                  <a:pt x="1088" y="52"/>
                </a:lnTo>
                <a:lnTo>
                  <a:pt x="1079" y="52"/>
                </a:lnTo>
                <a:lnTo>
                  <a:pt x="1079" y="43"/>
                </a:lnTo>
                <a:lnTo>
                  <a:pt x="1060" y="43"/>
                </a:lnTo>
                <a:lnTo>
                  <a:pt x="1043" y="52"/>
                </a:lnTo>
                <a:lnTo>
                  <a:pt x="1043" y="36"/>
                </a:lnTo>
                <a:lnTo>
                  <a:pt x="1027" y="36"/>
                </a:lnTo>
                <a:lnTo>
                  <a:pt x="1017" y="26"/>
                </a:lnTo>
                <a:lnTo>
                  <a:pt x="1001" y="43"/>
                </a:lnTo>
                <a:lnTo>
                  <a:pt x="1001" y="52"/>
                </a:lnTo>
                <a:lnTo>
                  <a:pt x="991" y="62"/>
                </a:lnTo>
                <a:lnTo>
                  <a:pt x="984" y="43"/>
                </a:lnTo>
                <a:lnTo>
                  <a:pt x="984" y="36"/>
                </a:lnTo>
                <a:lnTo>
                  <a:pt x="991" y="26"/>
                </a:lnTo>
                <a:lnTo>
                  <a:pt x="991" y="19"/>
                </a:lnTo>
                <a:lnTo>
                  <a:pt x="991" y="0"/>
                </a:lnTo>
                <a:lnTo>
                  <a:pt x="984" y="0"/>
                </a:lnTo>
                <a:lnTo>
                  <a:pt x="965" y="19"/>
                </a:lnTo>
                <a:lnTo>
                  <a:pt x="965" y="26"/>
                </a:lnTo>
                <a:lnTo>
                  <a:pt x="949" y="36"/>
                </a:lnTo>
                <a:lnTo>
                  <a:pt x="949" y="62"/>
                </a:lnTo>
                <a:lnTo>
                  <a:pt x="949" y="69"/>
                </a:lnTo>
                <a:lnTo>
                  <a:pt x="939" y="62"/>
                </a:lnTo>
                <a:lnTo>
                  <a:pt x="939" y="52"/>
                </a:lnTo>
                <a:lnTo>
                  <a:pt x="932" y="43"/>
                </a:lnTo>
                <a:lnTo>
                  <a:pt x="932" y="36"/>
                </a:lnTo>
                <a:lnTo>
                  <a:pt x="932" y="26"/>
                </a:lnTo>
                <a:lnTo>
                  <a:pt x="932" y="19"/>
                </a:lnTo>
                <a:lnTo>
                  <a:pt x="923" y="19"/>
                </a:lnTo>
                <a:lnTo>
                  <a:pt x="923" y="26"/>
                </a:lnTo>
                <a:lnTo>
                  <a:pt x="923" y="36"/>
                </a:lnTo>
                <a:lnTo>
                  <a:pt x="916" y="52"/>
                </a:lnTo>
                <a:lnTo>
                  <a:pt x="906" y="69"/>
                </a:lnTo>
                <a:lnTo>
                  <a:pt x="897" y="88"/>
                </a:lnTo>
                <a:lnTo>
                  <a:pt x="897" y="78"/>
                </a:lnTo>
                <a:lnTo>
                  <a:pt x="897" y="69"/>
                </a:lnTo>
                <a:lnTo>
                  <a:pt x="897" y="52"/>
                </a:lnTo>
                <a:lnTo>
                  <a:pt x="916" y="43"/>
                </a:lnTo>
                <a:lnTo>
                  <a:pt x="916" y="36"/>
                </a:lnTo>
                <a:lnTo>
                  <a:pt x="923" y="19"/>
                </a:lnTo>
                <a:lnTo>
                  <a:pt x="932" y="10"/>
                </a:lnTo>
                <a:lnTo>
                  <a:pt x="923" y="0"/>
                </a:lnTo>
                <a:lnTo>
                  <a:pt x="897" y="19"/>
                </a:lnTo>
                <a:lnTo>
                  <a:pt x="887" y="10"/>
                </a:lnTo>
                <a:lnTo>
                  <a:pt x="880" y="19"/>
                </a:lnTo>
                <a:lnTo>
                  <a:pt x="880" y="26"/>
                </a:lnTo>
                <a:lnTo>
                  <a:pt x="897" y="36"/>
                </a:lnTo>
                <a:lnTo>
                  <a:pt x="871" y="43"/>
                </a:lnTo>
                <a:lnTo>
                  <a:pt x="863" y="36"/>
                </a:lnTo>
                <a:lnTo>
                  <a:pt x="854" y="43"/>
                </a:lnTo>
                <a:lnTo>
                  <a:pt x="854" y="62"/>
                </a:lnTo>
                <a:lnTo>
                  <a:pt x="845" y="62"/>
                </a:lnTo>
                <a:lnTo>
                  <a:pt x="854" y="69"/>
                </a:lnTo>
                <a:lnTo>
                  <a:pt x="837" y="88"/>
                </a:lnTo>
                <a:lnTo>
                  <a:pt x="828" y="69"/>
                </a:lnTo>
                <a:lnTo>
                  <a:pt x="821" y="78"/>
                </a:lnTo>
                <a:lnTo>
                  <a:pt x="821" y="88"/>
                </a:lnTo>
                <a:lnTo>
                  <a:pt x="821" y="95"/>
                </a:lnTo>
                <a:lnTo>
                  <a:pt x="811" y="104"/>
                </a:lnTo>
                <a:lnTo>
                  <a:pt x="802" y="95"/>
                </a:lnTo>
                <a:lnTo>
                  <a:pt x="793" y="95"/>
                </a:lnTo>
                <a:lnTo>
                  <a:pt x="793" y="104"/>
                </a:lnTo>
                <a:lnTo>
                  <a:pt x="785" y="95"/>
                </a:lnTo>
                <a:lnTo>
                  <a:pt x="776" y="95"/>
                </a:lnTo>
                <a:lnTo>
                  <a:pt x="769" y="104"/>
                </a:lnTo>
                <a:lnTo>
                  <a:pt x="769" y="111"/>
                </a:lnTo>
                <a:lnTo>
                  <a:pt x="759" y="111"/>
                </a:lnTo>
                <a:lnTo>
                  <a:pt x="750" y="121"/>
                </a:lnTo>
                <a:lnTo>
                  <a:pt x="750" y="137"/>
                </a:lnTo>
                <a:lnTo>
                  <a:pt x="759" y="147"/>
                </a:lnTo>
                <a:lnTo>
                  <a:pt x="759" y="163"/>
                </a:lnTo>
                <a:lnTo>
                  <a:pt x="750" y="156"/>
                </a:lnTo>
                <a:lnTo>
                  <a:pt x="743" y="147"/>
                </a:lnTo>
                <a:lnTo>
                  <a:pt x="733" y="147"/>
                </a:lnTo>
                <a:lnTo>
                  <a:pt x="724" y="163"/>
                </a:lnTo>
                <a:lnTo>
                  <a:pt x="717" y="147"/>
                </a:lnTo>
                <a:lnTo>
                  <a:pt x="707" y="156"/>
                </a:lnTo>
                <a:lnTo>
                  <a:pt x="707" y="173"/>
                </a:lnTo>
                <a:lnTo>
                  <a:pt x="717" y="189"/>
                </a:lnTo>
                <a:lnTo>
                  <a:pt x="717" y="199"/>
                </a:lnTo>
                <a:lnTo>
                  <a:pt x="707" y="189"/>
                </a:lnTo>
                <a:lnTo>
                  <a:pt x="698" y="173"/>
                </a:lnTo>
                <a:lnTo>
                  <a:pt x="698" y="189"/>
                </a:lnTo>
                <a:lnTo>
                  <a:pt x="691" y="206"/>
                </a:lnTo>
                <a:lnTo>
                  <a:pt x="681" y="199"/>
                </a:lnTo>
                <a:lnTo>
                  <a:pt x="681" y="182"/>
                </a:lnTo>
                <a:lnTo>
                  <a:pt x="672" y="189"/>
                </a:lnTo>
                <a:lnTo>
                  <a:pt x="672" y="216"/>
                </a:lnTo>
                <a:lnTo>
                  <a:pt x="665" y="216"/>
                </a:lnTo>
                <a:lnTo>
                  <a:pt x="655" y="216"/>
                </a:lnTo>
                <a:lnTo>
                  <a:pt x="648" y="225"/>
                </a:lnTo>
                <a:lnTo>
                  <a:pt x="655" y="232"/>
                </a:lnTo>
                <a:lnTo>
                  <a:pt x="648" y="242"/>
                </a:lnTo>
                <a:lnTo>
                  <a:pt x="639" y="251"/>
                </a:lnTo>
                <a:lnTo>
                  <a:pt x="639" y="258"/>
                </a:lnTo>
                <a:lnTo>
                  <a:pt x="648" y="268"/>
                </a:lnTo>
                <a:lnTo>
                  <a:pt x="639" y="277"/>
                </a:lnTo>
                <a:lnTo>
                  <a:pt x="613" y="277"/>
                </a:lnTo>
                <a:lnTo>
                  <a:pt x="613" y="268"/>
                </a:lnTo>
                <a:lnTo>
                  <a:pt x="603" y="277"/>
                </a:lnTo>
                <a:lnTo>
                  <a:pt x="603" y="284"/>
                </a:lnTo>
                <a:lnTo>
                  <a:pt x="603" y="301"/>
                </a:lnTo>
                <a:lnTo>
                  <a:pt x="603" y="310"/>
                </a:lnTo>
                <a:lnTo>
                  <a:pt x="596" y="327"/>
                </a:lnTo>
                <a:lnTo>
                  <a:pt x="596" y="310"/>
                </a:lnTo>
                <a:lnTo>
                  <a:pt x="596" y="294"/>
                </a:lnTo>
                <a:lnTo>
                  <a:pt x="596" y="284"/>
                </a:lnTo>
                <a:lnTo>
                  <a:pt x="587" y="294"/>
                </a:lnTo>
                <a:lnTo>
                  <a:pt x="577" y="294"/>
                </a:lnTo>
                <a:lnTo>
                  <a:pt x="570" y="294"/>
                </a:lnTo>
                <a:lnTo>
                  <a:pt x="561" y="301"/>
                </a:lnTo>
                <a:lnTo>
                  <a:pt x="570" y="301"/>
                </a:lnTo>
                <a:lnTo>
                  <a:pt x="577" y="310"/>
                </a:lnTo>
                <a:lnTo>
                  <a:pt x="577" y="320"/>
                </a:lnTo>
                <a:lnTo>
                  <a:pt x="570" y="310"/>
                </a:lnTo>
                <a:lnTo>
                  <a:pt x="561" y="320"/>
                </a:lnTo>
                <a:lnTo>
                  <a:pt x="551" y="310"/>
                </a:lnTo>
                <a:lnTo>
                  <a:pt x="544" y="310"/>
                </a:lnTo>
                <a:lnTo>
                  <a:pt x="544" y="327"/>
                </a:lnTo>
                <a:lnTo>
                  <a:pt x="535" y="336"/>
                </a:lnTo>
                <a:lnTo>
                  <a:pt x="561" y="327"/>
                </a:lnTo>
                <a:lnTo>
                  <a:pt x="570" y="336"/>
                </a:lnTo>
                <a:lnTo>
                  <a:pt x="570" y="346"/>
                </a:lnTo>
                <a:lnTo>
                  <a:pt x="551" y="346"/>
                </a:lnTo>
                <a:lnTo>
                  <a:pt x="544" y="346"/>
                </a:lnTo>
                <a:lnTo>
                  <a:pt x="535" y="353"/>
                </a:lnTo>
                <a:lnTo>
                  <a:pt x="535" y="362"/>
                </a:lnTo>
                <a:lnTo>
                  <a:pt x="551" y="362"/>
                </a:lnTo>
                <a:lnTo>
                  <a:pt x="551" y="379"/>
                </a:lnTo>
                <a:lnTo>
                  <a:pt x="544" y="379"/>
                </a:lnTo>
                <a:lnTo>
                  <a:pt x="535" y="379"/>
                </a:lnTo>
                <a:lnTo>
                  <a:pt x="525" y="388"/>
                </a:lnTo>
                <a:lnTo>
                  <a:pt x="518" y="395"/>
                </a:lnTo>
                <a:lnTo>
                  <a:pt x="499" y="388"/>
                </a:lnTo>
                <a:lnTo>
                  <a:pt x="492" y="395"/>
                </a:lnTo>
                <a:lnTo>
                  <a:pt x="492" y="405"/>
                </a:lnTo>
                <a:lnTo>
                  <a:pt x="492" y="414"/>
                </a:lnTo>
                <a:lnTo>
                  <a:pt x="483" y="414"/>
                </a:lnTo>
                <a:lnTo>
                  <a:pt x="473" y="421"/>
                </a:lnTo>
                <a:lnTo>
                  <a:pt x="483" y="431"/>
                </a:lnTo>
                <a:lnTo>
                  <a:pt x="473" y="440"/>
                </a:lnTo>
                <a:lnTo>
                  <a:pt x="457" y="440"/>
                </a:lnTo>
                <a:lnTo>
                  <a:pt x="466" y="447"/>
                </a:lnTo>
                <a:lnTo>
                  <a:pt x="473" y="457"/>
                </a:lnTo>
                <a:lnTo>
                  <a:pt x="483" y="447"/>
                </a:lnTo>
                <a:lnTo>
                  <a:pt x="483" y="464"/>
                </a:lnTo>
                <a:lnTo>
                  <a:pt x="466" y="464"/>
                </a:lnTo>
                <a:lnTo>
                  <a:pt x="457" y="464"/>
                </a:lnTo>
                <a:lnTo>
                  <a:pt x="457" y="474"/>
                </a:lnTo>
                <a:lnTo>
                  <a:pt x="466" y="483"/>
                </a:lnTo>
                <a:lnTo>
                  <a:pt x="457" y="490"/>
                </a:lnTo>
                <a:lnTo>
                  <a:pt x="447" y="490"/>
                </a:lnTo>
                <a:lnTo>
                  <a:pt x="440" y="500"/>
                </a:lnTo>
                <a:lnTo>
                  <a:pt x="431" y="509"/>
                </a:lnTo>
                <a:lnTo>
                  <a:pt x="440" y="518"/>
                </a:lnTo>
                <a:lnTo>
                  <a:pt x="440" y="526"/>
                </a:lnTo>
                <a:lnTo>
                  <a:pt x="431" y="533"/>
                </a:lnTo>
                <a:lnTo>
                  <a:pt x="423" y="526"/>
                </a:lnTo>
                <a:lnTo>
                  <a:pt x="423" y="518"/>
                </a:lnTo>
                <a:lnTo>
                  <a:pt x="414" y="533"/>
                </a:lnTo>
                <a:lnTo>
                  <a:pt x="414" y="542"/>
                </a:lnTo>
                <a:lnTo>
                  <a:pt x="423" y="542"/>
                </a:lnTo>
                <a:lnTo>
                  <a:pt x="423" y="561"/>
                </a:lnTo>
                <a:lnTo>
                  <a:pt x="414" y="568"/>
                </a:lnTo>
                <a:lnTo>
                  <a:pt x="405" y="568"/>
                </a:lnTo>
                <a:lnTo>
                  <a:pt x="405" y="585"/>
                </a:lnTo>
                <a:lnTo>
                  <a:pt x="397" y="594"/>
                </a:lnTo>
                <a:lnTo>
                  <a:pt x="388" y="594"/>
                </a:lnTo>
                <a:lnTo>
                  <a:pt x="388" y="604"/>
                </a:lnTo>
                <a:lnTo>
                  <a:pt x="397" y="604"/>
                </a:lnTo>
                <a:lnTo>
                  <a:pt x="397" y="611"/>
                </a:lnTo>
                <a:lnTo>
                  <a:pt x="397" y="620"/>
                </a:lnTo>
                <a:lnTo>
                  <a:pt x="388" y="630"/>
                </a:lnTo>
                <a:lnTo>
                  <a:pt x="371" y="620"/>
                </a:lnTo>
                <a:lnTo>
                  <a:pt x="371" y="611"/>
                </a:lnTo>
                <a:lnTo>
                  <a:pt x="362" y="604"/>
                </a:lnTo>
                <a:lnTo>
                  <a:pt x="352" y="611"/>
                </a:lnTo>
                <a:lnTo>
                  <a:pt x="345" y="620"/>
                </a:lnTo>
                <a:lnTo>
                  <a:pt x="336" y="620"/>
                </a:lnTo>
                <a:lnTo>
                  <a:pt x="326" y="620"/>
                </a:lnTo>
                <a:lnTo>
                  <a:pt x="326" y="637"/>
                </a:lnTo>
                <a:lnTo>
                  <a:pt x="317" y="646"/>
                </a:lnTo>
                <a:lnTo>
                  <a:pt x="310" y="663"/>
                </a:lnTo>
                <a:lnTo>
                  <a:pt x="303" y="663"/>
                </a:lnTo>
                <a:lnTo>
                  <a:pt x="293" y="663"/>
                </a:lnTo>
                <a:lnTo>
                  <a:pt x="293" y="672"/>
                </a:lnTo>
                <a:lnTo>
                  <a:pt x="293" y="689"/>
                </a:lnTo>
                <a:lnTo>
                  <a:pt x="284" y="679"/>
                </a:lnTo>
                <a:lnTo>
                  <a:pt x="274" y="689"/>
                </a:lnTo>
                <a:lnTo>
                  <a:pt x="267" y="698"/>
                </a:lnTo>
                <a:lnTo>
                  <a:pt x="258" y="689"/>
                </a:lnTo>
                <a:lnTo>
                  <a:pt x="251" y="698"/>
                </a:lnTo>
                <a:lnTo>
                  <a:pt x="241" y="705"/>
                </a:lnTo>
                <a:lnTo>
                  <a:pt x="232" y="705"/>
                </a:lnTo>
                <a:lnTo>
                  <a:pt x="232" y="724"/>
                </a:lnTo>
                <a:lnTo>
                  <a:pt x="225" y="715"/>
                </a:lnTo>
                <a:lnTo>
                  <a:pt x="215" y="715"/>
                </a:lnTo>
                <a:lnTo>
                  <a:pt x="225" y="724"/>
                </a:lnTo>
                <a:lnTo>
                  <a:pt x="225" y="732"/>
                </a:lnTo>
                <a:lnTo>
                  <a:pt x="215" y="732"/>
                </a:lnTo>
                <a:lnTo>
                  <a:pt x="206" y="724"/>
                </a:lnTo>
                <a:lnTo>
                  <a:pt x="199" y="732"/>
                </a:lnTo>
                <a:lnTo>
                  <a:pt x="189" y="732"/>
                </a:lnTo>
                <a:lnTo>
                  <a:pt x="180" y="732"/>
                </a:lnTo>
                <a:lnTo>
                  <a:pt x="173" y="732"/>
                </a:lnTo>
                <a:lnTo>
                  <a:pt x="173" y="741"/>
                </a:lnTo>
                <a:lnTo>
                  <a:pt x="180" y="758"/>
                </a:lnTo>
                <a:lnTo>
                  <a:pt x="173" y="758"/>
                </a:lnTo>
                <a:lnTo>
                  <a:pt x="163" y="758"/>
                </a:lnTo>
                <a:lnTo>
                  <a:pt x="144" y="748"/>
                </a:lnTo>
                <a:lnTo>
                  <a:pt x="137" y="748"/>
                </a:lnTo>
                <a:lnTo>
                  <a:pt x="130" y="758"/>
                </a:lnTo>
                <a:lnTo>
                  <a:pt x="137" y="767"/>
                </a:lnTo>
                <a:lnTo>
                  <a:pt x="137" y="774"/>
                </a:lnTo>
                <a:lnTo>
                  <a:pt x="130" y="774"/>
                </a:lnTo>
                <a:lnTo>
                  <a:pt x="111" y="774"/>
                </a:lnTo>
                <a:lnTo>
                  <a:pt x="102" y="793"/>
                </a:lnTo>
                <a:lnTo>
                  <a:pt x="102" y="774"/>
                </a:lnTo>
                <a:lnTo>
                  <a:pt x="95" y="774"/>
                </a:lnTo>
                <a:lnTo>
                  <a:pt x="85" y="784"/>
                </a:lnTo>
                <a:lnTo>
                  <a:pt x="78" y="774"/>
                </a:lnTo>
                <a:lnTo>
                  <a:pt x="69" y="774"/>
                </a:lnTo>
                <a:lnTo>
                  <a:pt x="59" y="774"/>
                </a:lnTo>
                <a:lnTo>
                  <a:pt x="59" y="784"/>
                </a:lnTo>
                <a:lnTo>
                  <a:pt x="59" y="793"/>
                </a:lnTo>
                <a:lnTo>
                  <a:pt x="69" y="800"/>
                </a:lnTo>
                <a:lnTo>
                  <a:pt x="78" y="800"/>
                </a:lnTo>
                <a:lnTo>
                  <a:pt x="78" y="810"/>
                </a:lnTo>
                <a:lnTo>
                  <a:pt x="69" y="810"/>
                </a:lnTo>
                <a:lnTo>
                  <a:pt x="59" y="819"/>
                </a:lnTo>
                <a:lnTo>
                  <a:pt x="43" y="819"/>
                </a:lnTo>
                <a:lnTo>
                  <a:pt x="43" y="826"/>
                </a:lnTo>
                <a:lnTo>
                  <a:pt x="52" y="836"/>
                </a:lnTo>
                <a:lnTo>
                  <a:pt x="52" y="843"/>
                </a:lnTo>
                <a:lnTo>
                  <a:pt x="33" y="836"/>
                </a:lnTo>
                <a:lnTo>
                  <a:pt x="33" y="843"/>
                </a:lnTo>
                <a:lnTo>
                  <a:pt x="33" y="852"/>
                </a:lnTo>
                <a:lnTo>
                  <a:pt x="43" y="869"/>
                </a:lnTo>
                <a:lnTo>
                  <a:pt x="59" y="869"/>
                </a:lnTo>
                <a:lnTo>
                  <a:pt x="59" y="878"/>
                </a:lnTo>
                <a:lnTo>
                  <a:pt x="52" y="878"/>
                </a:lnTo>
                <a:lnTo>
                  <a:pt x="33" y="869"/>
                </a:lnTo>
                <a:lnTo>
                  <a:pt x="33" y="878"/>
                </a:lnTo>
                <a:lnTo>
                  <a:pt x="33" y="888"/>
                </a:lnTo>
                <a:lnTo>
                  <a:pt x="43" y="904"/>
                </a:lnTo>
                <a:lnTo>
                  <a:pt x="52" y="911"/>
                </a:lnTo>
                <a:lnTo>
                  <a:pt x="43" y="921"/>
                </a:lnTo>
                <a:lnTo>
                  <a:pt x="33" y="911"/>
                </a:lnTo>
                <a:lnTo>
                  <a:pt x="26" y="921"/>
                </a:lnTo>
                <a:lnTo>
                  <a:pt x="26" y="930"/>
                </a:lnTo>
                <a:lnTo>
                  <a:pt x="43" y="937"/>
                </a:lnTo>
                <a:lnTo>
                  <a:pt x="33" y="937"/>
                </a:lnTo>
                <a:lnTo>
                  <a:pt x="26" y="937"/>
                </a:lnTo>
                <a:lnTo>
                  <a:pt x="26" y="947"/>
                </a:lnTo>
                <a:lnTo>
                  <a:pt x="33" y="956"/>
                </a:lnTo>
                <a:lnTo>
                  <a:pt x="43" y="963"/>
                </a:lnTo>
                <a:lnTo>
                  <a:pt x="59" y="963"/>
                </a:lnTo>
                <a:lnTo>
                  <a:pt x="78" y="956"/>
                </a:lnTo>
                <a:lnTo>
                  <a:pt x="59" y="973"/>
                </a:lnTo>
                <a:lnTo>
                  <a:pt x="52" y="980"/>
                </a:lnTo>
                <a:lnTo>
                  <a:pt x="43" y="990"/>
                </a:lnTo>
                <a:lnTo>
                  <a:pt x="59" y="1008"/>
                </a:lnTo>
                <a:lnTo>
                  <a:pt x="52" y="1008"/>
                </a:lnTo>
                <a:lnTo>
                  <a:pt x="43" y="1008"/>
                </a:lnTo>
                <a:lnTo>
                  <a:pt x="33" y="1016"/>
                </a:lnTo>
                <a:lnTo>
                  <a:pt x="26" y="1008"/>
                </a:lnTo>
                <a:lnTo>
                  <a:pt x="17" y="1008"/>
                </a:lnTo>
                <a:lnTo>
                  <a:pt x="7" y="1025"/>
                </a:lnTo>
                <a:lnTo>
                  <a:pt x="7" y="1034"/>
                </a:lnTo>
                <a:lnTo>
                  <a:pt x="0" y="1051"/>
                </a:lnTo>
                <a:lnTo>
                  <a:pt x="7" y="1061"/>
                </a:lnTo>
                <a:lnTo>
                  <a:pt x="26" y="1034"/>
                </a:lnTo>
                <a:lnTo>
                  <a:pt x="43" y="1034"/>
                </a:lnTo>
                <a:lnTo>
                  <a:pt x="43" y="1042"/>
                </a:lnTo>
                <a:lnTo>
                  <a:pt x="43" y="1061"/>
                </a:lnTo>
                <a:lnTo>
                  <a:pt x="33" y="1061"/>
                </a:lnTo>
                <a:lnTo>
                  <a:pt x="33" y="1077"/>
                </a:lnTo>
                <a:lnTo>
                  <a:pt x="26" y="1084"/>
                </a:lnTo>
                <a:lnTo>
                  <a:pt x="26" y="1077"/>
                </a:lnTo>
                <a:lnTo>
                  <a:pt x="17" y="1084"/>
                </a:lnTo>
                <a:lnTo>
                  <a:pt x="17" y="1094"/>
                </a:lnTo>
                <a:lnTo>
                  <a:pt x="17" y="1110"/>
                </a:lnTo>
                <a:lnTo>
                  <a:pt x="17" y="1120"/>
                </a:lnTo>
                <a:lnTo>
                  <a:pt x="33" y="1136"/>
                </a:lnTo>
                <a:lnTo>
                  <a:pt x="59" y="1146"/>
                </a:lnTo>
                <a:lnTo>
                  <a:pt x="43" y="1162"/>
                </a:lnTo>
                <a:lnTo>
                  <a:pt x="59" y="1172"/>
                </a:lnTo>
                <a:lnTo>
                  <a:pt x="69" y="1162"/>
                </a:lnTo>
                <a:lnTo>
                  <a:pt x="69" y="1179"/>
                </a:lnTo>
                <a:lnTo>
                  <a:pt x="95" y="1179"/>
                </a:lnTo>
                <a:lnTo>
                  <a:pt x="111" y="1179"/>
                </a:lnTo>
                <a:lnTo>
                  <a:pt x="130" y="1172"/>
                </a:lnTo>
                <a:lnTo>
                  <a:pt x="130" y="1179"/>
                </a:lnTo>
                <a:lnTo>
                  <a:pt x="144" y="1172"/>
                </a:lnTo>
                <a:lnTo>
                  <a:pt x="154" y="1162"/>
                </a:lnTo>
                <a:lnTo>
                  <a:pt x="163" y="1146"/>
                </a:lnTo>
                <a:lnTo>
                  <a:pt x="173" y="1136"/>
                </a:lnTo>
                <a:lnTo>
                  <a:pt x="199" y="1127"/>
                </a:lnTo>
                <a:lnTo>
                  <a:pt x="199" y="1120"/>
                </a:lnTo>
                <a:lnTo>
                  <a:pt x="206" y="1110"/>
                </a:lnTo>
                <a:lnTo>
                  <a:pt x="225" y="1110"/>
                </a:lnTo>
                <a:lnTo>
                  <a:pt x="225" y="1120"/>
                </a:lnTo>
                <a:lnTo>
                  <a:pt x="232" y="1127"/>
                </a:lnTo>
                <a:lnTo>
                  <a:pt x="251" y="1120"/>
                </a:lnTo>
                <a:lnTo>
                  <a:pt x="251" y="1103"/>
                </a:lnTo>
                <a:lnTo>
                  <a:pt x="267" y="1084"/>
                </a:lnTo>
                <a:lnTo>
                  <a:pt x="267" y="1068"/>
                </a:lnTo>
                <a:lnTo>
                  <a:pt x="258" y="1061"/>
                </a:lnTo>
                <a:lnTo>
                  <a:pt x="274" y="1042"/>
                </a:lnTo>
                <a:lnTo>
                  <a:pt x="284" y="1034"/>
                </a:lnTo>
                <a:lnTo>
                  <a:pt x="293" y="1025"/>
                </a:lnTo>
                <a:lnTo>
                  <a:pt x="303" y="1025"/>
                </a:lnTo>
                <a:lnTo>
                  <a:pt x="303" y="1042"/>
                </a:lnTo>
                <a:lnTo>
                  <a:pt x="293" y="1051"/>
                </a:lnTo>
                <a:lnTo>
                  <a:pt x="284" y="1051"/>
                </a:lnTo>
                <a:lnTo>
                  <a:pt x="284" y="1068"/>
                </a:lnTo>
                <a:lnTo>
                  <a:pt x="293" y="1068"/>
                </a:lnTo>
                <a:lnTo>
                  <a:pt x="317" y="1084"/>
                </a:lnTo>
                <a:lnTo>
                  <a:pt x="303" y="110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2" name="Freeform 540">
            <a:extLst>
              <a:ext uri="{FF2B5EF4-FFF2-40B4-BE49-F238E27FC236}">
                <a16:creationId xmlns:a16="http://schemas.microsoft.com/office/drawing/2014/main" id="{71E72D6E-16C5-4578-ACE5-A2793CE33FD3}"/>
              </a:ext>
            </a:extLst>
          </p:cNvPr>
          <p:cNvSpPr>
            <a:spLocks/>
          </p:cNvSpPr>
          <p:nvPr/>
        </p:nvSpPr>
        <p:spPr bwMode="auto">
          <a:xfrm>
            <a:off x="1898500" y="1251260"/>
            <a:ext cx="531692" cy="1102569"/>
          </a:xfrm>
          <a:custGeom>
            <a:avLst/>
            <a:gdLst>
              <a:gd name="T0" fmla="*/ 580 w 597"/>
              <a:gd name="T1" fmla="*/ 222 h 1238"/>
              <a:gd name="T2" fmla="*/ 580 w 597"/>
              <a:gd name="T3" fmla="*/ 163 h 1238"/>
              <a:gd name="T4" fmla="*/ 554 w 597"/>
              <a:gd name="T5" fmla="*/ 128 h 1238"/>
              <a:gd name="T6" fmla="*/ 561 w 597"/>
              <a:gd name="T7" fmla="*/ 85 h 1238"/>
              <a:gd name="T8" fmla="*/ 511 w 597"/>
              <a:gd name="T9" fmla="*/ 43 h 1238"/>
              <a:gd name="T10" fmla="*/ 466 w 597"/>
              <a:gd name="T11" fmla="*/ 7 h 1238"/>
              <a:gd name="T12" fmla="*/ 433 w 597"/>
              <a:gd name="T13" fmla="*/ 33 h 1238"/>
              <a:gd name="T14" fmla="*/ 388 w 597"/>
              <a:gd name="T15" fmla="*/ 52 h 1238"/>
              <a:gd name="T16" fmla="*/ 348 w 597"/>
              <a:gd name="T17" fmla="*/ 76 h 1238"/>
              <a:gd name="T18" fmla="*/ 294 w 597"/>
              <a:gd name="T19" fmla="*/ 128 h 1238"/>
              <a:gd name="T20" fmla="*/ 294 w 597"/>
              <a:gd name="T21" fmla="*/ 180 h 1238"/>
              <a:gd name="T22" fmla="*/ 251 w 597"/>
              <a:gd name="T23" fmla="*/ 239 h 1238"/>
              <a:gd name="T24" fmla="*/ 199 w 597"/>
              <a:gd name="T25" fmla="*/ 301 h 1238"/>
              <a:gd name="T26" fmla="*/ 190 w 597"/>
              <a:gd name="T27" fmla="*/ 369 h 1238"/>
              <a:gd name="T28" fmla="*/ 173 w 597"/>
              <a:gd name="T29" fmla="*/ 421 h 1238"/>
              <a:gd name="T30" fmla="*/ 140 w 597"/>
              <a:gd name="T31" fmla="*/ 454 h 1238"/>
              <a:gd name="T32" fmla="*/ 95 w 597"/>
              <a:gd name="T33" fmla="*/ 473 h 1238"/>
              <a:gd name="T34" fmla="*/ 79 w 597"/>
              <a:gd name="T35" fmla="*/ 549 h 1238"/>
              <a:gd name="T36" fmla="*/ 88 w 597"/>
              <a:gd name="T37" fmla="*/ 611 h 1238"/>
              <a:gd name="T38" fmla="*/ 95 w 597"/>
              <a:gd name="T39" fmla="*/ 663 h 1238"/>
              <a:gd name="T40" fmla="*/ 71 w 597"/>
              <a:gd name="T41" fmla="*/ 722 h 1238"/>
              <a:gd name="T42" fmla="*/ 71 w 597"/>
              <a:gd name="T43" fmla="*/ 809 h 1238"/>
              <a:gd name="T44" fmla="*/ 36 w 597"/>
              <a:gd name="T45" fmla="*/ 836 h 1238"/>
              <a:gd name="T46" fmla="*/ 26 w 597"/>
              <a:gd name="T47" fmla="*/ 885 h 1238"/>
              <a:gd name="T48" fmla="*/ 3 w 597"/>
              <a:gd name="T49" fmla="*/ 878 h 1238"/>
              <a:gd name="T50" fmla="*/ 3 w 597"/>
              <a:gd name="T51" fmla="*/ 937 h 1238"/>
              <a:gd name="T52" fmla="*/ 17 w 597"/>
              <a:gd name="T53" fmla="*/ 963 h 1238"/>
              <a:gd name="T54" fmla="*/ 17 w 597"/>
              <a:gd name="T55" fmla="*/ 1015 h 1238"/>
              <a:gd name="T56" fmla="*/ 17 w 597"/>
              <a:gd name="T57" fmla="*/ 1075 h 1238"/>
              <a:gd name="T58" fmla="*/ 52 w 597"/>
              <a:gd name="T59" fmla="*/ 1127 h 1238"/>
              <a:gd name="T60" fmla="*/ 36 w 597"/>
              <a:gd name="T61" fmla="*/ 1160 h 1238"/>
              <a:gd name="T62" fmla="*/ 52 w 597"/>
              <a:gd name="T63" fmla="*/ 1205 h 1238"/>
              <a:gd name="T64" fmla="*/ 71 w 597"/>
              <a:gd name="T65" fmla="*/ 1238 h 1238"/>
              <a:gd name="T66" fmla="*/ 123 w 597"/>
              <a:gd name="T67" fmla="*/ 1231 h 1238"/>
              <a:gd name="T68" fmla="*/ 147 w 597"/>
              <a:gd name="T69" fmla="*/ 1188 h 1238"/>
              <a:gd name="T70" fmla="*/ 192 w 597"/>
              <a:gd name="T71" fmla="*/ 1169 h 1238"/>
              <a:gd name="T72" fmla="*/ 225 w 597"/>
              <a:gd name="T73" fmla="*/ 1160 h 1238"/>
              <a:gd name="T74" fmla="*/ 261 w 597"/>
              <a:gd name="T75" fmla="*/ 1091 h 1238"/>
              <a:gd name="T76" fmla="*/ 261 w 597"/>
              <a:gd name="T77" fmla="*/ 1049 h 1238"/>
              <a:gd name="T78" fmla="*/ 277 w 597"/>
              <a:gd name="T79" fmla="*/ 996 h 1238"/>
              <a:gd name="T80" fmla="*/ 261 w 597"/>
              <a:gd name="T81" fmla="*/ 947 h 1238"/>
              <a:gd name="T82" fmla="*/ 313 w 597"/>
              <a:gd name="T83" fmla="*/ 921 h 1238"/>
              <a:gd name="T84" fmla="*/ 348 w 597"/>
              <a:gd name="T85" fmla="*/ 902 h 1238"/>
              <a:gd name="T86" fmla="*/ 365 w 597"/>
              <a:gd name="T87" fmla="*/ 859 h 1238"/>
              <a:gd name="T88" fmla="*/ 365 w 597"/>
              <a:gd name="T89" fmla="*/ 817 h 1238"/>
              <a:gd name="T90" fmla="*/ 348 w 597"/>
              <a:gd name="T91" fmla="*/ 774 h 1238"/>
              <a:gd name="T92" fmla="*/ 313 w 597"/>
              <a:gd name="T93" fmla="*/ 738 h 1238"/>
              <a:gd name="T94" fmla="*/ 313 w 597"/>
              <a:gd name="T95" fmla="*/ 705 h 1238"/>
              <a:gd name="T96" fmla="*/ 313 w 597"/>
              <a:gd name="T97" fmla="*/ 653 h 1238"/>
              <a:gd name="T98" fmla="*/ 303 w 597"/>
              <a:gd name="T99" fmla="*/ 601 h 1238"/>
              <a:gd name="T100" fmla="*/ 348 w 597"/>
              <a:gd name="T101" fmla="*/ 575 h 1238"/>
              <a:gd name="T102" fmla="*/ 391 w 597"/>
              <a:gd name="T103" fmla="*/ 533 h 1238"/>
              <a:gd name="T104" fmla="*/ 433 w 597"/>
              <a:gd name="T105" fmla="*/ 507 h 1238"/>
              <a:gd name="T106" fmla="*/ 459 w 597"/>
              <a:gd name="T107" fmla="*/ 464 h 1238"/>
              <a:gd name="T108" fmla="*/ 485 w 597"/>
              <a:gd name="T109" fmla="*/ 412 h 1238"/>
              <a:gd name="T110" fmla="*/ 485 w 597"/>
              <a:gd name="T111" fmla="*/ 353 h 1238"/>
              <a:gd name="T112" fmla="*/ 521 w 597"/>
              <a:gd name="T113" fmla="*/ 317 h 1238"/>
              <a:gd name="T114" fmla="*/ 537 w 597"/>
              <a:gd name="T115" fmla="*/ 284 h 1238"/>
              <a:gd name="T116" fmla="*/ 587 w 597"/>
              <a:gd name="T117" fmla="*/ 284 h 12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597" h="1238">
                <a:moveTo>
                  <a:pt x="597" y="275"/>
                </a:moveTo>
                <a:lnTo>
                  <a:pt x="597" y="258"/>
                </a:lnTo>
                <a:lnTo>
                  <a:pt x="587" y="249"/>
                </a:lnTo>
                <a:lnTo>
                  <a:pt x="580" y="232"/>
                </a:lnTo>
                <a:lnTo>
                  <a:pt x="580" y="222"/>
                </a:lnTo>
                <a:lnTo>
                  <a:pt x="580" y="206"/>
                </a:lnTo>
                <a:lnTo>
                  <a:pt x="580" y="189"/>
                </a:lnTo>
                <a:lnTo>
                  <a:pt x="587" y="180"/>
                </a:lnTo>
                <a:lnTo>
                  <a:pt x="580" y="170"/>
                </a:lnTo>
                <a:lnTo>
                  <a:pt x="580" y="163"/>
                </a:lnTo>
                <a:lnTo>
                  <a:pt x="571" y="154"/>
                </a:lnTo>
                <a:lnTo>
                  <a:pt x="571" y="144"/>
                </a:lnTo>
                <a:lnTo>
                  <a:pt x="571" y="137"/>
                </a:lnTo>
                <a:lnTo>
                  <a:pt x="571" y="128"/>
                </a:lnTo>
                <a:lnTo>
                  <a:pt x="554" y="128"/>
                </a:lnTo>
                <a:lnTo>
                  <a:pt x="561" y="121"/>
                </a:lnTo>
                <a:lnTo>
                  <a:pt x="561" y="111"/>
                </a:lnTo>
                <a:lnTo>
                  <a:pt x="561" y="102"/>
                </a:lnTo>
                <a:lnTo>
                  <a:pt x="561" y="95"/>
                </a:lnTo>
                <a:lnTo>
                  <a:pt x="561" y="85"/>
                </a:lnTo>
                <a:lnTo>
                  <a:pt x="554" y="76"/>
                </a:lnTo>
                <a:lnTo>
                  <a:pt x="554" y="59"/>
                </a:lnTo>
                <a:lnTo>
                  <a:pt x="545" y="59"/>
                </a:lnTo>
                <a:lnTo>
                  <a:pt x="528" y="52"/>
                </a:lnTo>
                <a:lnTo>
                  <a:pt x="511" y="43"/>
                </a:lnTo>
                <a:lnTo>
                  <a:pt x="502" y="43"/>
                </a:lnTo>
                <a:lnTo>
                  <a:pt x="493" y="33"/>
                </a:lnTo>
                <a:lnTo>
                  <a:pt x="483" y="33"/>
                </a:lnTo>
                <a:lnTo>
                  <a:pt x="483" y="17"/>
                </a:lnTo>
                <a:lnTo>
                  <a:pt x="466" y="7"/>
                </a:lnTo>
                <a:lnTo>
                  <a:pt x="450" y="0"/>
                </a:lnTo>
                <a:lnTo>
                  <a:pt x="433" y="0"/>
                </a:lnTo>
                <a:lnTo>
                  <a:pt x="433" y="7"/>
                </a:lnTo>
                <a:lnTo>
                  <a:pt x="433" y="26"/>
                </a:lnTo>
                <a:lnTo>
                  <a:pt x="433" y="33"/>
                </a:lnTo>
                <a:lnTo>
                  <a:pt x="414" y="26"/>
                </a:lnTo>
                <a:lnTo>
                  <a:pt x="407" y="52"/>
                </a:lnTo>
                <a:lnTo>
                  <a:pt x="407" y="59"/>
                </a:lnTo>
                <a:lnTo>
                  <a:pt x="398" y="59"/>
                </a:lnTo>
                <a:lnTo>
                  <a:pt x="388" y="52"/>
                </a:lnTo>
                <a:lnTo>
                  <a:pt x="372" y="59"/>
                </a:lnTo>
                <a:lnTo>
                  <a:pt x="372" y="76"/>
                </a:lnTo>
                <a:lnTo>
                  <a:pt x="372" y="85"/>
                </a:lnTo>
                <a:lnTo>
                  <a:pt x="365" y="85"/>
                </a:lnTo>
                <a:lnTo>
                  <a:pt x="348" y="76"/>
                </a:lnTo>
                <a:lnTo>
                  <a:pt x="339" y="76"/>
                </a:lnTo>
                <a:lnTo>
                  <a:pt x="329" y="95"/>
                </a:lnTo>
                <a:lnTo>
                  <a:pt x="329" y="102"/>
                </a:lnTo>
                <a:lnTo>
                  <a:pt x="303" y="121"/>
                </a:lnTo>
                <a:lnTo>
                  <a:pt x="294" y="128"/>
                </a:lnTo>
                <a:lnTo>
                  <a:pt x="287" y="137"/>
                </a:lnTo>
                <a:lnTo>
                  <a:pt x="294" y="144"/>
                </a:lnTo>
                <a:lnTo>
                  <a:pt x="303" y="163"/>
                </a:lnTo>
                <a:lnTo>
                  <a:pt x="294" y="170"/>
                </a:lnTo>
                <a:lnTo>
                  <a:pt x="294" y="180"/>
                </a:lnTo>
                <a:lnTo>
                  <a:pt x="277" y="196"/>
                </a:lnTo>
                <a:lnTo>
                  <a:pt x="261" y="206"/>
                </a:lnTo>
                <a:lnTo>
                  <a:pt x="261" y="222"/>
                </a:lnTo>
                <a:lnTo>
                  <a:pt x="261" y="232"/>
                </a:lnTo>
                <a:lnTo>
                  <a:pt x="251" y="239"/>
                </a:lnTo>
                <a:lnTo>
                  <a:pt x="235" y="249"/>
                </a:lnTo>
                <a:lnTo>
                  <a:pt x="216" y="258"/>
                </a:lnTo>
                <a:lnTo>
                  <a:pt x="216" y="275"/>
                </a:lnTo>
                <a:lnTo>
                  <a:pt x="209" y="293"/>
                </a:lnTo>
                <a:lnTo>
                  <a:pt x="199" y="301"/>
                </a:lnTo>
                <a:lnTo>
                  <a:pt x="199" y="317"/>
                </a:lnTo>
                <a:lnTo>
                  <a:pt x="199" y="327"/>
                </a:lnTo>
                <a:lnTo>
                  <a:pt x="199" y="336"/>
                </a:lnTo>
                <a:lnTo>
                  <a:pt x="190" y="360"/>
                </a:lnTo>
                <a:lnTo>
                  <a:pt x="190" y="369"/>
                </a:lnTo>
                <a:lnTo>
                  <a:pt x="173" y="379"/>
                </a:lnTo>
                <a:lnTo>
                  <a:pt x="166" y="386"/>
                </a:lnTo>
                <a:lnTo>
                  <a:pt x="173" y="405"/>
                </a:lnTo>
                <a:lnTo>
                  <a:pt x="173" y="412"/>
                </a:lnTo>
                <a:lnTo>
                  <a:pt x="173" y="421"/>
                </a:lnTo>
                <a:lnTo>
                  <a:pt x="183" y="438"/>
                </a:lnTo>
                <a:lnTo>
                  <a:pt x="173" y="447"/>
                </a:lnTo>
                <a:lnTo>
                  <a:pt x="157" y="447"/>
                </a:lnTo>
                <a:lnTo>
                  <a:pt x="147" y="447"/>
                </a:lnTo>
                <a:lnTo>
                  <a:pt x="140" y="454"/>
                </a:lnTo>
                <a:lnTo>
                  <a:pt x="131" y="464"/>
                </a:lnTo>
                <a:lnTo>
                  <a:pt x="121" y="464"/>
                </a:lnTo>
                <a:lnTo>
                  <a:pt x="121" y="454"/>
                </a:lnTo>
                <a:lnTo>
                  <a:pt x="105" y="464"/>
                </a:lnTo>
                <a:lnTo>
                  <a:pt x="95" y="473"/>
                </a:lnTo>
                <a:lnTo>
                  <a:pt x="88" y="490"/>
                </a:lnTo>
                <a:lnTo>
                  <a:pt x="88" y="507"/>
                </a:lnTo>
                <a:lnTo>
                  <a:pt x="88" y="523"/>
                </a:lnTo>
                <a:lnTo>
                  <a:pt x="88" y="542"/>
                </a:lnTo>
                <a:lnTo>
                  <a:pt x="79" y="549"/>
                </a:lnTo>
                <a:lnTo>
                  <a:pt x="79" y="568"/>
                </a:lnTo>
                <a:lnTo>
                  <a:pt x="79" y="575"/>
                </a:lnTo>
                <a:lnTo>
                  <a:pt x="88" y="585"/>
                </a:lnTo>
                <a:lnTo>
                  <a:pt x="88" y="601"/>
                </a:lnTo>
                <a:lnTo>
                  <a:pt x="88" y="611"/>
                </a:lnTo>
                <a:lnTo>
                  <a:pt x="79" y="627"/>
                </a:lnTo>
                <a:lnTo>
                  <a:pt x="79" y="637"/>
                </a:lnTo>
                <a:lnTo>
                  <a:pt x="79" y="644"/>
                </a:lnTo>
                <a:lnTo>
                  <a:pt x="88" y="653"/>
                </a:lnTo>
                <a:lnTo>
                  <a:pt x="95" y="663"/>
                </a:lnTo>
                <a:lnTo>
                  <a:pt x="95" y="672"/>
                </a:lnTo>
                <a:lnTo>
                  <a:pt x="95" y="686"/>
                </a:lnTo>
                <a:lnTo>
                  <a:pt x="95" y="696"/>
                </a:lnTo>
                <a:lnTo>
                  <a:pt x="71" y="712"/>
                </a:lnTo>
                <a:lnTo>
                  <a:pt x="71" y="722"/>
                </a:lnTo>
                <a:lnTo>
                  <a:pt x="79" y="738"/>
                </a:lnTo>
                <a:lnTo>
                  <a:pt x="79" y="748"/>
                </a:lnTo>
                <a:lnTo>
                  <a:pt x="79" y="755"/>
                </a:lnTo>
                <a:lnTo>
                  <a:pt x="79" y="783"/>
                </a:lnTo>
                <a:lnTo>
                  <a:pt x="71" y="809"/>
                </a:lnTo>
                <a:lnTo>
                  <a:pt x="62" y="809"/>
                </a:lnTo>
                <a:lnTo>
                  <a:pt x="52" y="809"/>
                </a:lnTo>
                <a:lnTo>
                  <a:pt x="45" y="817"/>
                </a:lnTo>
                <a:lnTo>
                  <a:pt x="45" y="826"/>
                </a:lnTo>
                <a:lnTo>
                  <a:pt x="36" y="836"/>
                </a:lnTo>
                <a:lnTo>
                  <a:pt x="36" y="843"/>
                </a:lnTo>
                <a:lnTo>
                  <a:pt x="17" y="859"/>
                </a:lnTo>
                <a:lnTo>
                  <a:pt x="26" y="869"/>
                </a:lnTo>
                <a:lnTo>
                  <a:pt x="26" y="878"/>
                </a:lnTo>
                <a:lnTo>
                  <a:pt x="26" y="885"/>
                </a:lnTo>
                <a:lnTo>
                  <a:pt x="17" y="895"/>
                </a:lnTo>
                <a:lnTo>
                  <a:pt x="10" y="885"/>
                </a:lnTo>
                <a:lnTo>
                  <a:pt x="10" y="878"/>
                </a:lnTo>
                <a:lnTo>
                  <a:pt x="0" y="878"/>
                </a:lnTo>
                <a:lnTo>
                  <a:pt x="3" y="878"/>
                </a:lnTo>
                <a:lnTo>
                  <a:pt x="3" y="895"/>
                </a:lnTo>
                <a:lnTo>
                  <a:pt x="3" y="902"/>
                </a:lnTo>
                <a:lnTo>
                  <a:pt x="3" y="921"/>
                </a:lnTo>
                <a:lnTo>
                  <a:pt x="3" y="928"/>
                </a:lnTo>
                <a:lnTo>
                  <a:pt x="3" y="937"/>
                </a:lnTo>
                <a:lnTo>
                  <a:pt x="3" y="947"/>
                </a:lnTo>
                <a:lnTo>
                  <a:pt x="3" y="954"/>
                </a:lnTo>
                <a:lnTo>
                  <a:pt x="10" y="954"/>
                </a:lnTo>
                <a:lnTo>
                  <a:pt x="10" y="973"/>
                </a:lnTo>
                <a:lnTo>
                  <a:pt x="17" y="963"/>
                </a:lnTo>
                <a:lnTo>
                  <a:pt x="26" y="973"/>
                </a:lnTo>
                <a:lnTo>
                  <a:pt x="17" y="989"/>
                </a:lnTo>
                <a:lnTo>
                  <a:pt x="17" y="996"/>
                </a:lnTo>
                <a:lnTo>
                  <a:pt x="17" y="1006"/>
                </a:lnTo>
                <a:lnTo>
                  <a:pt x="17" y="1015"/>
                </a:lnTo>
                <a:lnTo>
                  <a:pt x="17" y="1032"/>
                </a:lnTo>
                <a:lnTo>
                  <a:pt x="17" y="1041"/>
                </a:lnTo>
                <a:lnTo>
                  <a:pt x="26" y="1049"/>
                </a:lnTo>
                <a:lnTo>
                  <a:pt x="17" y="1058"/>
                </a:lnTo>
                <a:lnTo>
                  <a:pt x="17" y="1075"/>
                </a:lnTo>
                <a:lnTo>
                  <a:pt x="26" y="1084"/>
                </a:lnTo>
                <a:lnTo>
                  <a:pt x="36" y="1084"/>
                </a:lnTo>
                <a:lnTo>
                  <a:pt x="36" y="1110"/>
                </a:lnTo>
                <a:lnTo>
                  <a:pt x="52" y="1117"/>
                </a:lnTo>
                <a:lnTo>
                  <a:pt x="52" y="1127"/>
                </a:lnTo>
                <a:lnTo>
                  <a:pt x="52" y="1136"/>
                </a:lnTo>
                <a:lnTo>
                  <a:pt x="45" y="1136"/>
                </a:lnTo>
                <a:lnTo>
                  <a:pt x="45" y="1143"/>
                </a:lnTo>
                <a:lnTo>
                  <a:pt x="36" y="1153"/>
                </a:lnTo>
                <a:lnTo>
                  <a:pt x="36" y="1160"/>
                </a:lnTo>
                <a:lnTo>
                  <a:pt x="36" y="1169"/>
                </a:lnTo>
                <a:lnTo>
                  <a:pt x="45" y="1179"/>
                </a:lnTo>
                <a:lnTo>
                  <a:pt x="45" y="1188"/>
                </a:lnTo>
                <a:lnTo>
                  <a:pt x="52" y="1195"/>
                </a:lnTo>
                <a:lnTo>
                  <a:pt x="52" y="1205"/>
                </a:lnTo>
                <a:lnTo>
                  <a:pt x="52" y="1221"/>
                </a:lnTo>
                <a:lnTo>
                  <a:pt x="45" y="1231"/>
                </a:lnTo>
                <a:lnTo>
                  <a:pt x="52" y="1238"/>
                </a:lnTo>
                <a:lnTo>
                  <a:pt x="62" y="1231"/>
                </a:lnTo>
                <a:lnTo>
                  <a:pt x="71" y="1238"/>
                </a:lnTo>
                <a:lnTo>
                  <a:pt x="97" y="1231"/>
                </a:lnTo>
                <a:lnTo>
                  <a:pt x="105" y="1238"/>
                </a:lnTo>
                <a:lnTo>
                  <a:pt x="114" y="1238"/>
                </a:lnTo>
                <a:lnTo>
                  <a:pt x="123" y="1238"/>
                </a:lnTo>
                <a:lnTo>
                  <a:pt x="123" y="1231"/>
                </a:lnTo>
                <a:lnTo>
                  <a:pt x="123" y="1212"/>
                </a:lnTo>
                <a:lnTo>
                  <a:pt x="123" y="1195"/>
                </a:lnTo>
                <a:lnTo>
                  <a:pt x="131" y="1188"/>
                </a:lnTo>
                <a:lnTo>
                  <a:pt x="140" y="1188"/>
                </a:lnTo>
                <a:lnTo>
                  <a:pt x="147" y="1188"/>
                </a:lnTo>
                <a:lnTo>
                  <a:pt x="157" y="1179"/>
                </a:lnTo>
                <a:lnTo>
                  <a:pt x="147" y="1179"/>
                </a:lnTo>
                <a:lnTo>
                  <a:pt x="157" y="1169"/>
                </a:lnTo>
                <a:lnTo>
                  <a:pt x="173" y="1160"/>
                </a:lnTo>
                <a:lnTo>
                  <a:pt x="192" y="1169"/>
                </a:lnTo>
                <a:lnTo>
                  <a:pt x="192" y="1179"/>
                </a:lnTo>
                <a:lnTo>
                  <a:pt x="199" y="1179"/>
                </a:lnTo>
                <a:lnTo>
                  <a:pt x="218" y="1179"/>
                </a:lnTo>
                <a:lnTo>
                  <a:pt x="225" y="1179"/>
                </a:lnTo>
                <a:lnTo>
                  <a:pt x="225" y="1160"/>
                </a:lnTo>
                <a:lnTo>
                  <a:pt x="225" y="1153"/>
                </a:lnTo>
                <a:lnTo>
                  <a:pt x="244" y="1127"/>
                </a:lnTo>
                <a:lnTo>
                  <a:pt x="244" y="1110"/>
                </a:lnTo>
                <a:lnTo>
                  <a:pt x="251" y="1101"/>
                </a:lnTo>
                <a:lnTo>
                  <a:pt x="261" y="1091"/>
                </a:lnTo>
                <a:lnTo>
                  <a:pt x="261" y="1084"/>
                </a:lnTo>
                <a:lnTo>
                  <a:pt x="251" y="1084"/>
                </a:lnTo>
                <a:lnTo>
                  <a:pt x="261" y="1065"/>
                </a:lnTo>
                <a:lnTo>
                  <a:pt x="270" y="1058"/>
                </a:lnTo>
                <a:lnTo>
                  <a:pt x="261" y="1049"/>
                </a:lnTo>
                <a:lnTo>
                  <a:pt x="261" y="1041"/>
                </a:lnTo>
                <a:lnTo>
                  <a:pt x="261" y="1032"/>
                </a:lnTo>
                <a:lnTo>
                  <a:pt x="270" y="1023"/>
                </a:lnTo>
                <a:lnTo>
                  <a:pt x="270" y="1015"/>
                </a:lnTo>
                <a:lnTo>
                  <a:pt x="277" y="996"/>
                </a:lnTo>
                <a:lnTo>
                  <a:pt x="277" y="989"/>
                </a:lnTo>
                <a:lnTo>
                  <a:pt x="277" y="980"/>
                </a:lnTo>
                <a:lnTo>
                  <a:pt x="270" y="963"/>
                </a:lnTo>
                <a:lnTo>
                  <a:pt x="287" y="954"/>
                </a:lnTo>
                <a:lnTo>
                  <a:pt x="261" y="947"/>
                </a:lnTo>
                <a:lnTo>
                  <a:pt x="270" y="937"/>
                </a:lnTo>
                <a:lnTo>
                  <a:pt x="287" y="947"/>
                </a:lnTo>
                <a:lnTo>
                  <a:pt x="296" y="947"/>
                </a:lnTo>
                <a:lnTo>
                  <a:pt x="313" y="928"/>
                </a:lnTo>
                <a:lnTo>
                  <a:pt x="313" y="921"/>
                </a:lnTo>
                <a:lnTo>
                  <a:pt x="313" y="911"/>
                </a:lnTo>
                <a:lnTo>
                  <a:pt x="320" y="911"/>
                </a:lnTo>
                <a:lnTo>
                  <a:pt x="329" y="911"/>
                </a:lnTo>
                <a:lnTo>
                  <a:pt x="339" y="921"/>
                </a:lnTo>
                <a:lnTo>
                  <a:pt x="348" y="902"/>
                </a:lnTo>
                <a:lnTo>
                  <a:pt x="355" y="895"/>
                </a:lnTo>
                <a:lnTo>
                  <a:pt x="372" y="885"/>
                </a:lnTo>
                <a:lnTo>
                  <a:pt x="355" y="878"/>
                </a:lnTo>
                <a:lnTo>
                  <a:pt x="355" y="869"/>
                </a:lnTo>
                <a:lnTo>
                  <a:pt x="365" y="859"/>
                </a:lnTo>
                <a:lnTo>
                  <a:pt x="372" y="859"/>
                </a:lnTo>
                <a:lnTo>
                  <a:pt x="391" y="836"/>
                </a:lnTo>
                <a:lnTo>
                  <a:pt x="381" y="826"/>
                </a:lnTo>
                <a:lnTo>
                  <a:pt x="381" y="809"/>
                </a:lnTo>
                <a:lnTo>
                  <a:pt x="365" y="817"/>
                </a:lnTo>
                <a:lnTo>
                  <a:pt x="365" y="809"/>
                </a:lnTo>
                <a:lnTo>
                  <a:pt x="365" y="800"/>
                </a:lnTo>
                <a:lnTo>
                  <a:pt x="355" y="791"/>
                </a:lnTo>
                <a:lnTo>
                  <a:pt x="348" y="783"/>
                </a:lnTo>
                <a:lnTo>
                  <a:pt x="348" y="774"/>
                </a:lnTo>
                <a:lnTo>
                  <a:pt x="348" y="765"/>
                </a:lnTo>
                <a:lnTo>
                  <a:pt x="329" y="774"/>
                </a:lnTo>
                <a:lnTo>
                  <a:pt x="320" y="765"/>
                </a:lnTo>
                <a:lnTo>
                  <a:pt x="313" y="755"/>
                </a:lnTo>
                <a:lnTo>
                  <a:pt x="313" y="738"/>
                </a:lnTo>
                <a:lnTo>
                  <a:pt x="303" y="731"/>
                </a:lnTo>
                <a:lnTo>
                  <a:pt x="303" y="722"/>
                </a:lnTo>
                <a:lnTo>
                  <a:pt x="296" y="712"/>
                </a:lnTo>
                <a:lnTo>
                  <a:pt x="303" y="712"/>
                </a:lnTo>
                <a:lnTo>
                  <a:pt x="313" y="705"/>
                </a:lnTo>
                <a:lnTo>
                  <a:pt x="313" y="686"/>
                </a:lnTo>
                <a:lnTo>
                  <a:pt x="313" y="679"/>
                </a:lnTo>
                <a:lnTo>
                  <a:pt x="313" y="663"/>
                </a:lnTo>
                <a:lnTo>
                  <a:pt x="320" y="663"/>
                </a:lnTo>
                <a:lnTo>
                  <a:pt x="313" y="653"/>
                </a:lnTo>
                <a:lnTo>
                  <a:pt x="320" y="644"/>
                </a:lnTo>
                <a:lnTo>
                  <a:pt x="320" y="627"/>
                </a:lnTo>
                <a:lnTo>
                  <a:pt x="329" y="618"/>
                </a:lnTo>
                <a:lnTo>
                  <a:pt x="329" y="601"/>
                </a:lnTo>
                <a:lnTo>
                  <a:pt x="303" y="601"/>
                </a:lnTo>
                <a:lnTo>
                  <a:pt x="303" y="585"/>
                </a:lnTo>
                <a:lnTo>
                  <a:pt x="313" y="575"/>
                </a:lnTo>
                <a:lnTo>
                  <a:pt x="329" y="585"/>
                </a:lnTo>
                <a:lnTo>
                  <a:pt x="339" y="575"/>
                </a:lnTo>
                <a:lnTo>
                  <a:pt x="348" y="575"/>
                </a:lnTo>
                <a:lnTo>
                  <a:pt x="355" y="568"/>
                </a:lnTo>
                <a:lnTo>
                  <a:pt x="365" y="568"/>
                </a:lnTo>
                <a:lnTo>
                  <a:pt x="381" y="559"/>
                </a:lnTo>
                <a:lnTo>
                  <a:pt x="372" y="549"/>
                </a:lnTo>
                <a:lnTo>
                  <a:pt x="391" y="533"/>
                </a:lnTo>
                <a:lnTo>
                  <a:pt x="381" y="523"/>
                </a:lnTo>
                <a:lnTo>
                  <a:pt x="398" y="523"/>
                </a:lnTo>
                <a:lnTo>
                  <a:pt x="407" y="507"/>
                </a:lnTo>
                <a:lnTo>
                  <a:pt x="417" y="516"/>
                </a:lnTo>
                <a:lnTo>
                  <a:pt x="433" y="507"/>
                </a:lnTo>
                <a:lnTo>
                  <a:pt x="424" y="499"/>
                </a:lnTo>
                <a:lnTo>
                  <a:pt x="433" y="490"/>
                </a:lnTo>
                <a:lnTo>
                  <a:pt x="443" y="490"/>
                </a:lnTo>
                <a:lnTo>
                  <a:pt x="459" y="480"/>
                </a:lnTo>
                <a:lnTo>
                  <a:pt x="459" y="464"/>
                </a:lnTo>
                <a:lnTo>
                  <a:pt x="459" y="454"/>
                </a:lnTo>
                <a:lnTo>
                  <a:pt x="459" y="447"/>
                </a:lnTo>
                <a:lnTo>
                  <a:pt x="469" y="431"/>
                </a:lnTo>
                <a:lnTo>
                  <a:pt x="476" y="431"/>
                </a:lnTo>
                <a:lnTo>
                  <a:pt x="485" y="412"/>
                </a:lnTo>
                <a:lnTo>
                  <a:pt x="493" y="405"/>
                </a:lnTo>
                <a:lnTo>
                  <a:pt x="485" y="395"/>
                </a:lnTo>
                <a:lnTo>
                  <a:pt x="485" y="386"/>
                </a:lnTo>
                <a:lnTo>
                  <a:pt x="485" y="369"/>
                </a:lnTo>
                <a:lnTo>
                  <a:pt x="485" y="353"/>
                </a:lnTo>
                <a:lnTo>
                  <a:pt x="493" y="343"/>
                </a:lnTo>
                <a:lnTo>
                  <a:pt x="493" y="336"/>
                </a:lnTo>
                <a:lnTo>
                  <a:pt x="493" y="327"/>
                </a:lnTo>
                <a:lnTo>
                  <a:pt x="502" y="317"/>
                </a:lnTo>
                <a:lnTo>
                  <a:pt x="521" y="317"/>
                </a:lnTo>
                <a:lnTo>
                  <a:pt x="521" y="301"/>
                </a:lnTo>
                <a:lnTo>
                  <a:pt x="521" y="284"/>
                </a:lnTo>
                <a:lnTo>
                  <a:pt x="521" y="275"/>
                </a:lnTo>
                <a:lnTo>
                  <a:pt x="528" y="275"/>
                </a:lnTo>
                <a:lnTo>
                  <a:pt x="537" y="284"/>
                </a:lnTo>
                <a:lnTo>
                  <a:pt x="554" y="265"/>
                </a:lnTo>
                <a:lnTo>
                  <a:pt x="563" y="275"/>
                </a:lnTo>
                <a:lnTo>
                  <a:pt x="571" y="275"/>
                </a:lnTo>
                <a:lnTo>
                  <a:pt x="580" y="275"/>
                </a:lnTo>
                <a:lnTo>
                  <a:pt x="587" y="284"/>
                </a:lnTo>
                <a:lnTo>
                  <a:pt x="597" y="27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3" name="Freeform 541">
            <a:extLst>
              <a:ext uri="{FF2B5EF4-FFF2-40B4-BE49-F238E27FC236}">
                <a16:creationId xmlns:a16="http://schemas.microsoft.com/office/drawing/2014/main" id="{698E16C9-CD5B-4C86-800B-B7640C3D8E03}"/>
              </a:ext>
            </a:extLst>
          </p:cNvPr>
          <p:cNvSpPr>
            <a:spLocks/>
          </p:cNvSpPr>
          <p:nvPr/>
        </p:nvSpPr>
        <p:spPr bwMode="auto">
          <a:xfrm>
            <a:off x="2299276" y="1143497"/>
            <a:ext cx="455099" cy="835388"/>
          </a:xfrm>
          <a:custGeom>
            <a:avLst/>
            <a:gdLst>
              <a:gd name="T0" fmla="*/ 277 w 511"/>
              <a:gd name="T1" fmla="*/ 85 h 938"/>
              <a:gd name="T2" fmla="*/ 286 w 511"/>
              <a:gd name="T3" fmla="*/ 43 h 938"/>
              <a:gd name="T4" fmla="*/ 234 w 511"/>
              <a:gd name="T5" fmla="*/ 17 h 938"/>
              <a:gd name="T6" fmla="*/ 208 w 511"/>
              <a:gd name="T7" fmla="*/ 17 h 938"/>
              <a:gd name="T8" fmla="*/ 173 w 511"/>
              <a:gd name="T9" fmla="*/ 78 h 938"/>
              <a:gd name="T10" fmla="*/ 166 w 511"/>
              <a:gd name="T11" fmla="*/ 112 h 938"/>
              <a:gd name="T12" fmla="*/ 130 w 511"/>
              <a:gd name="T13" fmla="*/ 147 h 938"/>
              <a:gd name="T14" fmla="*/ 78 w 511"/>
              <a:gd name="T15" fmla="*/ 138 h 938"/>
              <a:gd name="T16" fmla="*/ 43 w 511"/>
              <a:gd name="T17" fmla="*/ 112 h 938"/>
              <a:gd name="T18" fmla="*/ 9 w 511"/>
              <a:gd name="T19" fmla="*/ 85 h 938"/>
              <a:gd name="T20" fmla="*/ 35 w 511"/>
              <a:gd name="T21" fmla="*/ 138 h 938"/>
              <a:gd name="T22" fmla="*/ 61 w 511"/>
              <a:gd name="T23" fmla="*/ 164 h 938"/>
              <a:gd name="T24" fmla="*/ 104 w 511"/>
              <a:gd name="T25" fmla="*/ 197 h 938"/>
              <a:gd name="T26" fmla="*/ 113 w 511"/>
              <a:gd name="T27" fmla="*/ 232 h 938"/>
              <a:gd name="T28" fmla="*/ 121 w 511"/>
              <a:gd name="T29" fmla="*/ 258 h 938"/>
              <a:gd name="T30" fmla="*/ 130 w 511"/>
              <a:gd name="T31" fmla="*/ 291 h 938"/>
              <a:gd name="T32" fmla="*/ 130 w 511"/>
              <a:gd name="T33" fmla="*/ 343 h 938"/>
              <a:gd name="T34" fmla="*/ 147 w 511"/>
              <a:gd name="T35" fmla="*/ 396 h 938"/>
              <a:gd name="T36" fmla="*/ 182 w 511"/>
              <a:gd name="T37" fmla="*/ 414 h 938"/>
              <a:gd name="T38" fmla="*/ 189 w 511"/>
              <a:gd name="T39" fmla="*/ 457 h 938"/>
              <a:gd name="T40" fmla="*/ 189 w 511"/>
              <a:gd name="T41" fmla="*/ 481 h 938"/>
              <a:gd name="T42" fmla="*/ 156 w 511"/>
              <a:gd name="T43" fmla="*/ 516 h 938"/>
              <a:gd name="T44" fmla="*/ 121 w 511"/>
              <a:gd name="T45" fmla="*/ 568 h 938"/>
              <a:gd name="T46" fmla="*/ 104 w 511"/>
              <a:gd name="T47" fmla="*/ 601 h 938"/>
              <a:gd name="T48" fmla="*/ 87 w 511"/>
              <a:gd name="T49" fmla="*/ 620 h 938"/>
              <a:gd name="T50" fmla="*/ 52 w 511"/>
              <a:gd name="T51" fmla="*/ 637 h 938"/>
              <a:gd name="T52" fmla="*/ 35 w 511"/>
              <a:gd name="T53" fmla="*/ 696 h 938"/>
              <a:gd name="T54" fmla="*/ 35 w 511"/>
              <a:gd name="T55" fmla="*/ 739 h 938"/>
              <a:gd name="T56" fmla="*/ 52 w 511"/>
              <a:gd name="T57" fmla="*/ 800 h 938"/>
              <a:gd name="T58" fmla="*/ 35 w 511"/>
              <a:gd name="T59" fmla="*/ 852 h 938"/>
              <a:gd name="T60" fmla="*/ 104 w 511"/>
              <a:gd name="T61" fmla="*/ 886 h 938"/>
              <a:gd name="T62" fmla="*/ 130 w 511"/>
              <a:gd name="T63" fmla="*/ 930 h 938"/>
              <a:gd name="T64" fmla="*/ 182 w 511"/>
              <a:gd name="T65" fmla="*/ 921 h 938"/>
              <a:gd name="T66" fmla="*/ 215 w 511"/>
              <a:gd name="T67" fmla="*/ 912 h 938"/>
              <a:gd name="T68" fmla="*/ 277 w 511"/>
              <a:gd name="T69" fmla="*/ 895 h 938"/>
              <a:gd name="T70" fmla="*/ 293 w 511"/>
              <a:gd name="T71" fmla="*/ 886 h 938"/>
              <a:gd name="T72" fmla="*/ 338 w 511"/>
              <a:gd name="T73" fmla="*/ 859 h 938"/>
              <a:gd name="T74" fmla="*/ 388 w 511"/>
              <a:gd name="T75" fmla="*/ 817 h 938"/>
              <a:gd name="T76" fmla="*/ 423 w 511"/>
              <a:gd name="T77" fmla="*/ 774 h 938"/>
              <a:gd name="T78" fmla="*/ 449 w 511"/>
              <a:gd name="T79" fmla="*/ 739 h 938"/>
              <a:gd name="T80" fmla="*/ 459 w 511"/>
              <a:gd name="T81" fmla="*/ 696 h 938"/>
              <a:gd name="T82" fmla="*/ 483 w 511"/>
              <a:gd name="T83" fmla="*/ 654 h 938"/>
              <a:gd name="T84" fmla="*/ 492 w 511"/>
              <a:gd name="T85" fmla="*/ 601 h 938"/>
              <a:gd name="T86" fmla="*/ 423 w 511"/>
              <a:gd name="T87" fmla="*/ 568 h 938"/>
              <a:gd name="T88" fmla="*/ 423 w 511"/>
              <a:gd name="T89" fmla="*/ 552 h 938"/>
              <a:gd name="T90" fmla="*/ 423 w 511"/>
              <a:gd name="T91" fmla="*/ 516 h 938"/>
              <a:gd name="T92" fmla="*/ 407 w 511"/>
              <a:gd name="T93" fmla="*/ 490 h 938"/>
              <a:gd name="T94" fmla="*/ 397 w 511"/>
              <a:gd name="T95" fmla="*/ 457 h 938"/>
              <a:gd name="T96" fmla="*/ 381 w 511"/>
              <a:gd name="T97" fmla="*/ 438 h 938"/>
              <a:gd name="T98" fmla="*/ 381 w 511"/>
              <a:gd name="T99" fmla="*/ 405 h 938"/>
              <a:gd name="T100" fmla="*/ 381 w 511"/>
              <a:gd name="T101" fmla="*/ 360 h 938"/>
              <a:gd name="T102" fmla="*/ 338 w 511"/>
              <a:gd name="T103" fmla="*/ 310 h 938"/>
              <a:gd name="T104" fmla="*/ 319 w 511"/>
              <a:gd name="T105" fmla="*/ 258 h 938"/>
              <a:gd name="T106" fmla="*/ 329 w 511"/>
              <a:gd name="T107" fmla="*/ 216 h 938"/>
              <a:gd name="T108" fmla="*/ 293 w 511"/>
              <a:gd name="T109" fmla="*/ 164 h 938"/>
              <a:gd name="T110" fmla="*/ 267 w 511"/>
              <a:gd name="T111" fmla="*/ 128 h 9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11" h="938">
                <a:moveTo>
                  <a:pt x="286" y="102"/>
                </a:moveTo>
                <a:lnTo>
                  <a:pt x="277" y="102"/>
                </a:lnTo>
                <a:lnTo>
                  <a:pt x="277" y="95"/>
                </a:lnTo>
                <a:lnTo>
                  <a:pt x="277" y="85"/>
                </a:lnTo>
                <a:lnTo>
                  <a:pt x="277" y="78"/>
                </a:lnTo>
                <a:lnTo>
                  <a:pt x="277" y="59"/>
                </a:lnTo>
                <a:lnTo>
                  <a:pt x="286" y="52"/>
                </a:lnTo>
                <a:lnTo>
                  <a:pt x="286" y="43"/>
                </a:lnTo>
                <a:lnTo>
                  <a:pt x="277" y="33"/>
                </a:lnTo>
                <a:lnTo>
                  <a:pt x="267" y="26"/>
                </a:lnTo>
                <a:lnTo>
                  <a:pt x="260" y="26"/>
                </a:lnTo>
                <a:lnTo>
                  <a:pt x="234" y="17"/>
                </a:lnTo>
                <a:lnTo>
                  <a:pt x="241" y="0"/>
                </a:lnTo>
                <a:lnTo>
                  <a:pt x="234" y="0"/>
                </a:lnTo>
                <a:lnTo>
                  <a:pt x="225" y="7"/>
                </a:lnTo>
                <a:lnTo>
                  <a:pt x="208" y="17"/>
                </a:lnTo>
                <a:lnTo>
                  <a:pt x="189" y="17"/>
                </a:lnTo>
                <a:lnTo>
                  <a:pt x="182" y="26"/>
                </a:lnTo>
                <a:lnTo>
                  <a:pt x="182" y="59"/>
                </a:lnTo>
                <a:lnTo>
                  <a:pt x="173" y="78"/>
                </a:lnTo>
                <a:lnTo>
                  <a:pt x="173" y="85"/>
                </a:lnTo>
                <a:lnTo>
                  <a:pt x="173" y="95"/>
                </a:lnTo>
                <a:lnTo>
                  <a:pt x="173" y="102"/>
                </a:lnTo>
                <a:lnTo>
                  <a:pt x="166" y="112"/>
                </a:lnTo>
                <a:lnTo>
                  <a:pt x="156" y="128"/>
                </a:lnTo>
                <a:lnTo>
                  <a:pt x="156" y="138"/>
                </a:lnTo>
                <a:lnTo>
                  <a:pt x="147" y="138"/>
                </a:lnTo>
                <a:lnTo>
                  <a:pt x="130" y="147"/>
                </a:lnTo>
                <a:lnTo>
                  <a:pt x="121" y="128"/>
                </a:lnTo>
                <a:lnTo>
                  <a:pt x="113" y="128"/>
                </a:lnTo>
                <a:lnTo>
                  <a:pt x="104" y="138"/>
                </a:lnTo>
                <a:lnTo>
                  <a:pt x="78" y="138"/>
                </a:lnTo>
                <a:lnTo>
                  <a:pt x="71" y="128"/>
                </a:lnTo>
                <a:lnTo>
                  <a:pt x="61" y="128"/>
                </a:lnTo>
                <a:lnTo>
                  <a:pt x="52" y="128"/>
                </a:lnTo>
                <a:lnTo>
                  <a:pt x="43" y="112"/>
                </a:lnTo>
                <a:lnTo>
                  <a:pt x="43" y="102"/>
                </a:lnTo>
                <a:lnTo>
                  <a:pt x="26" y="95"/>
                </a:lnTo>
                <a:lnTo>
                  <a:pt x="19" y="85"/>
                </a:lnTo>
                <a:lnTo>
                  <a:pt x="9" y="85"/>
                </a:lnTo>
                <a:lnTo>
                  <a:pt x="0" y="102"/>
                </a:lnTo>
                <a:lnTo>
                  <a:pt x="0" y="121"/>
                </a:lnTo>
                <a:lnTo>
                  <a:pt x="19" y="128"/>
                </a:lnTo>
                <a:lnTo>
                  <a:pt x="35" y="138"/>
                </a:lnTo>
                <a:lnTo>
                  <a:pt x="35" y="154"/>
                </a:lnTo>
                <a:lnTo>
                  <a:pt x="43" y="154"/>
                </a:lnTo>
                <a:lnTo>
                  <a:pt x="52" y="164"/>
                </a:lnTo>
                <a:lnTo>
                  <a:pt x="61" y="164"/>
                </a:lnTo>
                <a:lnTo>
                  <a:pt x="78" y="173"/>
                </a:lnTo>
                <a:lnTo>
                  <a:pt x="95" y="180"/>
                </a:lnTo>
                <a:lnTo>
                  <a:pt x="104" y="180"/>
                </a:lnTo>
                <a:lnTo>
                  <a:pt x="104" y="197"/>
                </a:lnTo>
                <a:lnTo>
                  <a:pt x="113" y="206"/>
                </a:lnTo>
                <a:lnTo>
                  <a:pt x="113" y="216"/>
                </a:lnTo>
                <a:lnTo>
                  <a:pt x="113" y="223"/>
                </a:lnTo>
                <a:lnTo>
                  <a:pt x="113" y="232"/>
                </a:lnTo>
                <a:lnTo>
                  <a:pt x="113" y="242"/>
                </a:lnTo>
                <a:lnTo>
                  <a:pt x="104" y="249"/>
                </a:lnTo>
                <a:lnTo>
                  <a:pt x="121" y="249"/>
                </a:lnTo>
                <a:lnTo>
                  <a:pt x="121" y="258"/>
                </a:lnTo>
                <a:lnTo>
                  <a:pt x="121" y="265"/>
                </a:lnTo>
                <a:lnTo>
                  <a:pt x="121" y="275"/>
                </a:lnTo>
                <a:lnTo>
                  <a:pt x="130" y="284"/>
                </a:lnTo>
                <a:lnTo>
                  <a:pt x="130" y="291"/>
                </a:lnTo>
                <a:lnTo>
                  <a:pt x="137" y="301"/>
                </a:lnTo>
                <a:lnTo>
                  <a:pt x="130" y="310"/>
                </a:lnTo>
                <a:lnTo>
                  <a:pt x="130" y="327"/>
                </a:lnTo>
                <a:lnTo>
                  <a:pt x="130" y="343"/>
                </a:lnTo>
                <a:lnTo>
                  <a:pt x="130" y="353"/>
                </a:lnTo>
                <a:lnTo>
                  <a:pt x="137" y="370"/>
                </a:lnTo>
                <a:lnTo>
                  <a:pt x="147" y="379"/>
                </a:lnTo>
                <a:lnTo>
                  <a:pt x="147" y="396"/>
                </a:lnTo>
                <a:lnTo>
                  <a:pt x="156" y="396"/>
                </a:lnTo>
                <a:lnTo>
                  <a:pt x="166" y="405"/>
                </a:lnTo>
                <a:lnTo>
                  <a:pt x="182" y="405"/>
                </a:lnTo>
                <a:lnTo>
                  <a:pt x="182" y="414"/>
                </a:lnTo>
                <a:lnTo>
                  <a:pt x="189" y="422"/>
                </a:lnTo>
                <a:lnTo>
                  <a:pt x="189" y="429"/>
                </a:lnTo>
                <a:lnTo>
                  <a:pt x="189" y="438"/>
                </a:lnTo>
                <a:lnTo>
                  <a:pt x="189" y="457"/>
                </a:lnTo>
                <a:lnTo>
                  <a:pt x="189" y="464"/>
                </a:lnTo>
                <a:lnTo>
                  <a:pt x="199" y="474"/>
                </a:lnTo>
                <a:lnTo>
                  <a:pt x="199" y="481"/>
                </a:lnTo>
                <a:lnTo>
                  <a:pt x="189" y="481"/>
                </a:lnTo>
                <a:lnTo>
                  <a:pt x="182" y="481"/>
                </a:lnTo>
                <a:lnTo>
                  <a:pt x="173" y="481"/>
                </a:lnTo>
                <a:lnTo>
                  <a:pt x="173" y="490"/>
                </a:lnTo>
                <a:lnTo>
                  <a:pt x="156" y="516"/>
                </a:lnTo>
                <a:lnTo>
                  <a:pt x="156" y="526"/>
                </a:lnTo>
                <a:lnTo>
                  <a:pt x="147" y="542"/>
                </a:lnTo>
                <a:lnTo>
                  <a:pt x="137" y="552"/>
                </a:lnTo>
                <a:lnTo>
                  <a:pt x="121" y="568"/>
                </a:lnTo>
                <a:lnTo>
                  <a:pt x="121" y="575"/>
                </a:lnTo>
                <a:lnTo>
                  <a:pt x="121" y="585"/>
                </a:lnTo>
                <a:lnTo>
                  <a:pt x="104" y="594"/>
                </a:lnTo>
                <a:lnTo>
                  <a:pt x="104" y="601"/>
                </a:lnTo>
                <a:lnTo>
                  <a:pt x="104" y="594"/>
                </a:lnTo>
                <a:lnTo>
                  <a:pt x="95" y="601"/>
                </a:lnTo>
                <a:lnTo>
                  <a:pt x="87" y="611"/>
                </a:lnTo>
                <a:lnTo>
                  <a:pt x="87" y="620"/>
                </a:lnTo>
                <a:lnTo>
                  <a:pt x="87" y="637"/>
                </a:lnTo>
                <a:lnTo>
                  <a:pt x="71" y="644"/>
                </a:lnTo>
                <a:lnTo>
                  <a:pt x="61" y="637"/>
                </a:lnTo>
                <a:lnTo>
                  <a:pt x="52" y="637"/>
                </a:lnTo>
                <a:lnTo>
                  <a:pt x="52" y="654"/>
                </a:lnTo>
                <a:lnTo>
                  <a:pt x="35" y="670"/>
                </a:lnTo>
                <a:lnTo>
                  <a:pt x="35" y="689"/>
                </a:lnTo>
                <a:lnTo>
                  <a:pt x="35" y="696"/>
                </a:lnTo>
                <a:lnTo>
                  <a:pt x="43" y="706"/>
                </a:lnTo>
                <a:lnTo>
                  <a:pt x="43" y="722"/>
                </a:lnTo>
                <a:lnTo>
                  <a:pt x="35" y="732"/>
                </a:lnTo>
                <a:lnTo>
                  <a:pt x="35" y="739"/>
                </a:lnTo>
                <a:lnTo>
                  <a:pt x="52" y="748"/>
                </a:lnTo>
                <a:lnTo>
                  <a:pt x="52" y="758"/>
                </a:lnTo>
                <a:lnTo>
                  <a:pt x="52" y="774"/>
                </a:lnTo>
                <a:lnTo>
                  <a:pt x="52" y="800"/>
                </a:lnTo>
                <a:lnTo>
                  <a:pt x="52" y="817"/>
                </a:lnTo>
                <a:lnTo>
                  <a:pt x="35" y="826"/>
                </a:lnTo>
                <a:lnTo>
                  <a:pt x="35" y="843"/>
                </a:lnTo>
                <a:lnTo>
                  <a:pt x="35" y="852"/>
                </a:lnTo>
                <a:lnTo>
                  <a:pt x="52" y="876"/>
                </a:lnTo>
                <a:lnTo>
                  <a:pt x="78" y="876"/>
                </a:lnTo>
                <a:lnTo>
                  <a:pt x="87" y="886"/>
                </a:lnTo>
                <a:lnTo>
                  <a:pt x="104" y="886"/>
                </a:lnTo>
                <a:lnTo>
                  <a:pt x="113" y="886"/>
                </a:lnTo>
                <a:lnTo>
                  <a:pt x="121" y="904"/>
                </a:lnTo>
                <a:lnTo>
                  <a:pt x="121" y="921"/>
                </a:lnTo>
                <a:lnTo>
                  <a:pt x="130" y="930"/>
                </a:lnTo>
                <a:lnTo>
                  <a:pt x="137" y="938"/>
                </a:lnTo>
                <a:lnTo>
                  <a:pt x="166" y="938"/>
                </a:lnTo>
                <a:lnTo>
                  <a:pt x="173" y="938"/>
                </a:lnTo>
                <a:lnTo>
                  <a:pt x="182" y="921"/>
                </a:lnTo>
                <a:lnTo>
                  <a:pt x="189" y="912"/>
                </a:lnTo>
                <a:lnTo>
                  <a:pt x="199" y="930"/>
                </a:lnTo>
                <a:lnTo>
                  <a:pt x="208" y="921"/>
                </a:lnTo>
                <a:lnTo>
                  <a:pt x="215" y="912"/>
                </a:lnTo>
                <a:lnTo>
                  <a:pt x="234" y="904"/>
                </a:lnTo>
                <a:lnTo>
                  <a:pt x="260" y="895"/>
                </a:lnTo>
                <a:lnTo>
                  <a:pt x="267" y="895"/>
                </a:lnTo>
                <a:lnTo>
                  <a:pt x="277" y="895"/>
                </a:lnTo>
                <a:lnTo>
                  <a:pt x="277" y="886"/>
                </a:lnTo>
                <a:lnTo>
                  <a:pt x="277" y="876"/>
                </a:lnTo>
                <a:lnTo>
                  <a:pt x="286" y="869"/>
                </a:lnTo>
                <a:lnTo>
                  <a:pt x="293" y="886"/>
                </a:lnTo>
                <a:lnTo>
                  <a:pt x="303" y="876"/>
                </a:lnTo>
                <a:lnTo>
                  <a:pt x="319" y="869"/>
                </a:lnTo>
                <a:lnTo>
                  <a:pt x="329" y="852"/>
                </a:lnTo>
                <a:lnTo>
                  <a:pt x="338" y="859"/>
                </a:lnTo>
                <a:lnTo>
                  <a:pt x="355" y="859"/>
                </a:lnTo>
                <a:lnTo>
                  <a:pt x="362" y="859"/>
                </a:lnTo>
                <a:lnTo>
                  <a:pt x="371" y="852"/>
                </a:lnTo>
                <a:lnTo>
                  <a:pt x="388" y="817"/>
                </a:lnTo>
                <a:lnTo>
                  <a:pt x="397" y="807"/>
                </a:lnTo>
                <a:lnTo>
                  <a:pt x="407" y="793"/>
                </a:lnTo>
                <a:lnTo>
                  <a:pt x="414" y="784"/>
                </a:lnTo>
                <a:lnTo>
                  <a:pt x="423" y="774"/>
                </a:lnTo>
                <a:lnTo>
                  <a:pt x="433" y="758"/>
                </a:lnTo>
                <a:lnTo>
                  <a:pt x="440" y="732"/>
                </a:lnTo>
                <a:lnTo>
                  <a:pt x="440" y="739"/>
                </a:lnTo>
                <a:lnTo>
                  <a:pt x="449" y="739"/>
                </a:lnTo>
                <a:lnTo>
                  <a:pt x="459" y="732"/>
                </a:lnTo>
                <a:lnTo>
                  <a:pt x="449" y="722"/>
                </a:lnTo>
                <a:lnTo>
                  <a:pt x="459" y="715"/>
                </a:lnTo>
                <a:lnTo>
                  <a:pt x="459" y="696"/>
                </a:lnTo>
                <a:lnTo>
                  <a:pt x="466" y="689"/>
                </a:lnTo>
                <a:lnTo>
                  <a:pt x="475" y="680"/>
                </a:lnTo>
                <a:lnTo>
                  <a:pt x="475" y="670"/>
                </a:lnTo>
                <a:lnTo>
                  <a:pt x="483" y="654"/>
                </a:lnTo>
                <a:lnTo>
                  <a:pt x="501" y="644"/>
                </a:lnTo>
                <a:lnTo>
                  <a:pt x="511" y="628"/>
                </a:lnTo>
                <a:lnTo>
                  <a:pt x="501" y="611"/>
                </a:lnTo>
                <a:lnTo>
                  <a:pt x="492" y="601"/>
                </a:lnTo>
                <a:lnTo>
                  <a:pt x="466" y="594"/>
                </a:lnTo>
                <a:lnTo>
                  <a:pt x="440" y="585"/>
                </a:lnTo>
                <a:lnTo>
                  <a:pt x="433" y="575"/>
                </a:lnTo>
                <a:lnTo>
                  <a:pt x="423" y="568"/>
                </a:lnTo>
                <a:lnTo>
                  <a:pt x="414" y="568"/>
                </a:lnTo>
                <a:lnTo>
                  <a:pt x="407" y="552"/>
                </a:lnTo>
                <a:lnTo>
                  <a:pt x="414" y="552"/>
                </a:lnTo>
                <a:lnTo>
                  <a:pt x="423" y="552"/>
                </a:lnTo>
                <a:lnTo>
                  <a:pt x="433" y="542"/>
                </a:lnTo>
                <a:lnTo>
                  <a:pt x="433" y="533"/>
                </a:lnTo>
                <a:lnTo>
                  <a:pt x="433" y="526"/>
                </a:lnTo>
                <a:lnTo>
                  <a:pt x="423" y="516"/>
                </a:lnTo>
                <a:lnTo>
                  <a:pt x="423" y="507"/>
                </a:lnTo>
                <a:lnTo>
                  <a:pt x="407" y="507"/>
                </a:lnTo>
                <a:lnTo>
                  <a:pt x="407" y="500"/>
                </a:lnTo>
                <a:lnTo>
                  <a:pt x="407" y="490"/>
                </a:lnTo>
                <a:lnTo>
                  <a:pt x="388" y="481"/>
                </a:lnTo>
                <a:lnTo>
                  <a:pt x="407" y="474"/>
                </a:lnTo>
                <a:lnTo>
                  <a:pt x="397" y="464"/>
                </a:lnTo>
                <a:lnTo>
                  <a:pt x="397" y="457"/>
                </a:lnTo>
                <a:lnTo>
                  <a:pt x="388" y="464"/>
                </a:lnTo>
                <a:lnTo>
                  <a:pt x="381" y="457"/>
                </a:lnTo>
                <a:lnTo>
                  <a:pt x="381" y="448"/>
                </a:lnTo>
                <a:lnTo>
                  <a:pt x="381" y="438"/>
                </a:lnTo>
                <a:lnTo>
                  <a:pt x="381" y="429"/>
                </a:lnTo>
                <a:lnTo>
                  <a:pt x="371" y="422"/>
                </a:lnTo>
                <a:lnTo>
                  <a:pt x="371" y="414"/>
                </a:lnTo>
                <a:lnTo>
                  <a:pt x="381" y="405"/>
                </a:lnTo>
                <a:lnTo>
                  <a:pt x="371" y="386"/>
                </a:lnTo>
                <a:lnTo>
                  <a:pt x="381" y="379"/>
                </a:lnTo>
                <a:lnTo>
                  <a:pt x="381" y="370"/>
                </a:lnTo>
                <a:lnTo>
                  <a:pt x="381" y="360"/>
                </a:lnTo>
                <a:lnTo>
                  <a:pt x="371" y="343"/>
                </a:lnTo>
                <a:lnTo>
                  <a:pt x="362" y="327"/>
                </a:lnTo>
                <a:lnTo>
                  <a:pt x="355" y="317"/>
                </a:lnTo>
                <a:lnTo>
                  <a:pt x="338" y="310"/>
                </a:lnTo>
                <a:lnTo>
                  <a:pt x="338" y="301"/>
                </a:lnTo>
                <a:lnTo>
                  <a:pt x="329" y="291"/>
                </a:lnTo>
                <a:lnTo>
                  <a:pt x="319" y="275"/>
                </a:lnTo>
                <a:lnTo>
                  <a:pt x="319" y="258"/>
                </a:lnTo>
                <a:lnTo>
                  <a:pt x="319" y="249"/>
                </a:lnTo>
                <a:lnTo>
                  <a:pt x="319" y="232"/>
                </a:lnTo>
                <a:lnTo>
                  <a:pt x="329" y="223"/>
                </a:lnTo>
                <a:lnTo>
                  <a:pt x="329" y="216"/>
                </a:lnTo>
                <a:lnTo>
                  <a:pt x="329" y="197"/>
                </a:lnTo>
                <a:lnTo>
                  <a:pt x="310" y="180"/>
                </a:lnTo>
                <a:lnTo>
                  <a:pt x="293" y="173"/>
                </a:lnTo>
                <a:lnTo>
                  <a:pt x="293" y="164"/>
                </a:lnTo>
                <a:lnTo>
                  <a:pt x="286" y="154"/>
                </a:lnTo>
                <a:lnTo>
                  <a:pt x="277" y="147"/>
                </a:lnTo>
                <a:lnTo>
                  <a:pt x="267" y="138"/>
                </a:lnTo>
                <a:lnTo>
                  <a:pt x="267" y="128"/>
                </a:lnTo>
                <a:lnTo>
                  <a:pt x="277" y="121"/>
                </a:lnTo>
                <a:lnTo>
                  <a:pt x="277" y="112"/>
                </a:lnTo>
                <a:lnTo>
                  <a:pt x="286" y="10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tx1">
                <a:lumMod val="10000"/>
                <a:lumOff val="90000"/>
              </a:schemeClr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51299" tIns="25649" rIns="51299" bIns="25649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1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24" name="Oval 145">
            <a:extLst>
              <a:ext uri="{FF2B5EF4-FFF2-40B4-BE49-F238E27FC236}">
                <a16:creationId xmlns:a16="http://schemas.microsoft.com/office/drawing/2014/main" id="{2583BFA3-0E47-4908-8B28-5063BF12D2AB}"/>
              </a:ext>
            </a:extLst>
          </p:cNvPr>
          <p:cNvSpPr/>
          <p:nvPr/>
        </p:nvSpPr>
        <p:spPr>
          <a:xfrm>
            <a:off x="2488476" y="2316874"/>
            <a:ext cx="73485" cy="74045"/>
          </a:xfrm>
          <a:prstGeom prst="ellipse">
            <a:avLst/>
          </a:prstGeom>
          <a:solidFill>
            <a:schemeClr val="bg1"/>
          </a:solidFill>
          <a:ln w="38100">
            <a:solidFill>
              <a:srgbClr val="FF4B4B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132B5992-7BDB-40F4-809F-96A69632EECE}"/>
              </a:ext>
            </a:extLst>
          </p:cNvPr>
          <p:cNvCxnSpPr>
            <a:cxnSpLocks/>
            <a:stCxn id="321" idx="23"/>
            <a:endCxn id="308" idx="29"/>
          </p:cNvCxnSpPr>
          <p:nvPr/>
        </p:nvCxnSpPr>
        <p:spPr>
          <a:xfrm>
            <a:off x="2453349" y="1050876"/>
            <a:ext cx="63230" cy="2841920"/>
          </a:xfrm>
          <a:prstGeom prst="straightConnector1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24063E7-009C-46CD-A804-5200A04C6C3B}"/>
              </a:ext>
            </a:extLst>
          </p:cNvPr>
          <p:cNvCxnSpPr>
            <a:cxnSpLocks/>
          </p:cNvCxnSpPr>
          <p:nvPr/>
        </p:nvCxnSpPr>
        <p:spPr>
          <a:xfrm rot="25380000" flipV="1">
            <a:off x="1969264" y="595547"/>
            <a:ext cx="1221062" cy="2688301"/>
          </a:xfrm>
          <a:prstGeom prst="curvedConnector2">
            <a:avLst/>
          </a:prstGeom>
          <a:ln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TextBox 328">
            <a:extLst>
              <a:ext uri="{FF2B5EF4-FFF2-40B4-BE49-F238E27FC236}">
                <a16:creationId xmlns:a16="http://schemas.microsoft.com/office/drawing/2014/main" id="{953040DF-3C07-4ADD-B12E-4985EC45112A}"/>
              </a:ext>
            </a:extLst>
          </p:cNvPr>
          <p:cNvSpPr txBox="1"/>
          <p:nvPr/>
        </p:nvSpPr>
        <p:spPr>
          <a:xfrm>
            <a:off x="2802517" y="1991114"/>
            <a:ext cx="623421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GEOGRAPHICAL CENTRE OF EUROPE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Myriad Pro" panose="020B0503030403020204"/>
                <a:ea typeface="+mn-ea"/>
                <a:cs typeface="+mn-cs"/>
              </a:rPr>
              <a:t>(26KM NORTH FROM VILNIUS)</a:t>
            </a:r>
          </a:p>
        </p:txBody>
      </p:sp>
      <p:sp>
        <p:nvSpPr>
          <p:cNvPr id="139" name="Arc 138">
            <a:extLst>
              <a:ext uri="{FF2B5EF4-FFF2-40B4-BE49-F238E27FC236}">
                <a16:creationId xmlns:a16="http://schemas.microsoft.com/office/drawing/2014/main" id="{20D24E21-DE7D-4402-B770-0C1147968F6E}"/>
              </a:ext>
            </a:extLst>
          </p:cNvPr>
          <p:cNvSpPr>
            <a:spLocks noChangeAspect="1"/>
          </p:cNvSpPr>
          <p:nvPr/>
        </p:nvSpPr>
        <p:spPr>
          <a:xfrm>
            <a:off x="2769182" y="1848358"/>
            <a:ext cx="685800" cy="685800"/>
          </a:xfrm>
          <a:prstGeom prst="arc">
            <a:avLst>
              <a:gd name="adj1" fmla="val 16200000"/>
              <a:gd name="adj2" fmla="val 10741235"/>
            </a:avLst>
          </a:prstGeom>
          <a:ln w="38100" cap="rnd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98" name="Picture 97">
            <a:extLst>
              <a:ext uri="{FF2B5EF4-FFF2-40B4-BE49-F238E27FC236}">
                <a16:creationId xmlns:a16="http://schemas.microsoft.com/office/drawing/2014/main" id="{CA369584-DA5E-4393-9F5D-4414517D6F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714501"/>
            <a:ext cx="155075" cy="1476317"/>
          </a:xfrm>
          <a:prstGeom prst="rect">
            <a:avLst/>
          </a:prstGeom>
        </p:spPr>
      </p:pic>
      <p:sp>
        <p:nvSpPr>
          <p:cNvPr id="97" name="Inhaltsplatzhalter 4">
            <a:extLst>
              <a:ext uri="{FF2B5EF4-FFF2-40B4-BE49-F238E27FC236}">
                <a16:creationId xmlns:a16="http://schemas.microsoft.com/office/drawing/2014/main" id="{ED143712-047E-446A-A35A-F6141FC8277A}"/>
              </a:ext>
            </a:extLst>
          </p:cNvPr>
          <p:cNvSpPr txBox="1">
            <a:spLocks/>
          </p:cNvSpPr>
          <p:nvPr/>
        </p:nvSpPr>
        <p:spPr>
          <a:xfrm>
            <a:off x="4558888" y="4021997"/>
            <a:ext cx="1790483" cy="11650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59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SINCE 2004</a:t>
            </a:r>
          </a:p>
        </p:txBody>
      </p:sp>
    </p:spTree>
    <p:extLst>
      <p:ext uri="{BB962C8B-B14F-4D97-AF65-F5344CB8AC3E}">
        <p14:creationId xmlns:p14="http://schemas.microsoft.com/office/powerpoint/2010/main" val="1799529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5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0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1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3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3" presetClass="entr" presetSubtype="16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34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3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3" presetClass="entr" presetSubtype="16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21600000">
                                      <p:cBhvr>
                                        <p:cTn id="47" dur="14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8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21600000">
                                      <p:cBhvr>
                                        <p:cTn id="49" dur="18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0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childTnLst>
                                    <p:animRot by="-21600000">
                                      <p:cBhvr>
                                        <p:cTn id="51" dur="22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2" presetClass="entr" presetSubtype="2" decel="100000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1000" fill="hold"/>
                                        <p:tgtEl>
                                          <p:spTgt spid="28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2" decel="100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1000" fill="hold"/>
                                        <p:tgtEl>
                                          <p:spTgt spid="2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2" decel="10000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100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1000" fill="hold"/>
                                        <p:tgtEl>
                                          <p:spTgt spid="2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2" decel="10000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10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1000" fill="hold"/>
                                        <p:tgtEl>
                                          <p:spTgt spid="2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10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5" dur="10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2" presetClass="entr" presetSubtype="2" decel="10000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100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1000" fill="hold"/>
                                        <p:tgtEl>
                                          <p:spTgt spid="2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0" presetID="2" presetClass="entr" presetSubtype="2" decel="10000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10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3" dur="10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4" presetID="2" presetClass="entr" presetSubtype="2" decel="100000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6" dur="100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7" dur="1000" fill="hold"/>
                                        <p:tgtEl>
                                          <p:spTgt spid="2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8" presetID="2" presetClass="entr" presetSubtype="2" decel="10000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0" dur="10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1" dur="10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2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4" dur="100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5" dur="1000" fill="hold"/>
                                        <p:tgtEl>
                                          <p:spTgt spid="2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2" presetClass="entr" presetSubtype="2" decel="10000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8" dur="100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9" dur="1000" fill="hold"/>
                                        <p:tgtEl>
                                          <p:spTgt spid="2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2" presetClass="entr" presetSubtype="2" decel="100000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2" dur="100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3" dur="1000" fill="hold"/>
                                        <p:tgtEl>
                                          <p:spTgt spid="2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4" presetID="2" presetClass="entr" presetSubtype="2" decel="10000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6" dur="100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7" dur="1000" fill="hold"/>
                                        <p:tgtEl>
                                          <p:spTgt spid="2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2" presetClass="entr" presetSubtype="2" decel="100000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0" dur="10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1" dur="10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2" presetID="2" presetClass="entr" presetSubtype="2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4" dur="1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5" dur="1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6" presetID="2" presetClass="entr" presetSubtype="2" decel="10000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8" dur="10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9" dur="10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0" presetID="2" presetClass="entr" presetSubtype="2" decel="10000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2" dur="100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3" dur="1000" fill="hold"/>
                                        <p:tgtEl>
                                          <p:spTgt spid="2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4" presetID="2" presetClass="entr" presetSubtype="2" decel="100000" fill="hold" grpId="0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6" dur="10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7" dur="10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8" presetID="2" presetClass="entr" presetSubtype="2" decel="10000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0" dur="600" fill="hold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1" dur="600" fill="hold"/>
                                        <p:tgtEl>
                                          <p:spTgt spid="2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2" presetID="2" presetClass="entr" presetSubtype="2" decel="10000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4" dur="600" fill="hold"/>
                                        <p:tgtEl>
                                          <p:spTgt spid="3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5" dur="600" fill="hold"/>
                                        <p:tgtEl>
                                          <p:spTgt spid="3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6" presetID="2" presetClass="entr" presetSubtype="2" decel="100000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8" dur="600" fill="hold"/>
                                        <p:tgtEl>
                                          <p:spTgt spid="3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9" dur="600" fill="hold"/>
                                        <p:tgtEl>
                                          <p:spTgt spid="3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0" presetID="2" presetClass="entr" presetSubtype="2" decel="100000" fill="hold" grpId="0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2" dur="600" fill="hold"/>
                                        <p:tgtEl>
                                          <p:spTgt spid="3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3" dur="600" fill="hold"/>
                                        <p:tgtEl>
                                          <p:spTgt spid="3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4" presetID="2" presetClass="entr" presetSubtype="2" decel="100000" fill="hold" grpId="0" nodeType="withEffect">
                                  <p:stCondLst>
                                    <p:cond delay="230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6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7" dur="6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8" presetID="2" presetClass="entr" presetSubtype="2" decel="100000" fill="hold" grpId="0" nodeType="withEffect">
                                  <p:stCondLst>
                                    <p:cond delay="240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0" dur="600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1" dur="600" fill="hold"/>
                                        <p:tgtEl>
                                          <p:spTgt spid="3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2" presetID="2" presetClass="entr" presetSubtype="2" decel="10000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4" dur="6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5" dur="6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6" presetID="2" presetClass="entr" presetSubtype="2" decel="100000" fill="hold" grpId="0" nodeType="withEffect">
                                  <p:stCondLst>
                                    <p:cond delay="26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8" dur="600" fill="hold"/>
                                        <p:tgtEl>
                                          <p:spTgt spid="3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9" dur="600" fill="hold"/>
                                        <p:tgtEl>
                                          <p:spTgt spid="3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0" presetID="2" presetClass="entr" presetSubtype="2" decel="100000" fill="hold" grpId="0" nodeType="withEffect">
                                  <p:stCondLst>
                                    <p:cond delay="270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2" dur="6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3" dur="6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4" presetID="2" presetClass="entr" presetSubtype="2" decel="100000" fill="hold" grpId="0" nodeType="withEffect">
                                  <p:stCondLst>
                                    <p:cond delay="280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6" dur="600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7" dur="600" fill="hold"/>
                                        <p:tgtEl>
                                          <p:spTgt spid="3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8" presetID="2" presetClass="entr" presetSubtype="2" decel="100000" fill="hold" grpId="0" nodeType="withEffect">
                                  <p:stCondLst>
                                    <p:cond delay="290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0" dur="600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1" dur="600" fill="hold"/>
                                        <p:tgtEl>
                                          <p:spTgt spid="3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2" presetID="2" presetClass="entr" presetSubtype="2" decel="10000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4" dur="600" fill="hold"/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5" dur="600" fill="hold"/>
                                        <p:tgtEl>
                                          <p:spTgt spid="3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6" presetID="2" presetClass="entr" presetSubtype="2" decel="100000" fill="hold" grpId="0" nodeType="withEffect">
                                  <p:stCondLst>
                                    <p:cond delay="310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8" dur="6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9" dur="6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0" presetID="2" presetClass="entr" presetSubtype="2" decel="100000" fill="hold" grpId="0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2" dur="600" fill="hold"/>
                                        <p:tgtEl>
                                          <p:spTgt spid="3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3" dur="600" fill="hold"/>
                                        <p:tgtEl>
                                          <p:spTgt spid="3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4" presetID="2" presetClass="entr" presetSubtype="2" decel="100000" fill="hold" grpId="0" nodeType="withEffect">
                                  <p:stCondLst>
                                    <p:cond delay="330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6" dur="600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7" dur="600" fill="hold"/>
                                        <p:tgtEl>
                                          <p:spTgt spid="3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8" presetID="2" presetClass="entr" presetSubtype="2" decel="100000" fill="hold" grpId="0" nodeType="withEffect">
                                  <p:stCondLst>
                                    <p:cond delay="340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0" dur="60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1" dur="600" fill="hold"/>
                                        <p:tgtEl>
                                          <p:spTgt spid="3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2" presetID="2" presetClass="entr" presetSubtype="2" decel="100000" fill="hold" grpId="0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1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4" dur="600" fill="hold"/>
                                        <p:tgtEl>
                                          <p:spTgt spid="3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5" dur="600" fill="hold"/>
                                        <p:tgtEl>
                                          <p:spTgt spid="3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6" presetID="2" presetClass="entr" presetSubtype="2" decel="100000" fill="hold" grpId="0" nodeType="withEffect">
                                  <p:stCondLst>
                                    <p:cond delay="360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8" dur="600" fill="hold"/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9" dur="600" fill="hold"/>
                                        <p:tgtEl>
                                          <p:spTgt spid="3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0" presetID="2" presetClass="entr" presetSubtype="2" decel="100000" fill="hold" grpId="0" nodeType="withEffect">
                                  <p:stCondLst>
                                    <p:cond delay="3700"/>
                                  </p:stCondLst>
                                  <p:childTnLst>
                                    <p:set>
                                      <p:cBhvr>
                                        <p:cTn id="2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2" dur="600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3" dur="600" fill="hold"/>
                                        <p:tgtEl>
                                          <p:spTgt spid="3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4" presetID="2" presetClass="entr" presetSubtype="2" decel="100000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2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6" dur="600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7" dur="600" fill="hold"/>
                                        <p:tgtEl>
                                          <p:spTgt spid="3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8" presetID="2" presetClass="entr" presetSubtype="2" decel="100000" fill="hold" grpId="0" nodeType="withEffect">
                                  <p:stCondLst>
                                    <p:cond delay="390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0" dur="600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1" dur="600" fill="hold"/>
                                        <p:tgtEl>
                                          <p:spTgt spid="3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2" presetID="2" presetClass="entr" presetSubtype="2" decel="10000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set>
                                      <p:cBhvr>
                                        <p:cTn id="2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4" dur="6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5" dur="600" fill="hold"/>
                                        <p:tgtEl>
                                          <p:spTgt spid="3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6" presetID="2" presetClass="entr" presetSubtype="2" decel="100000" fill="hold" grpId="0" nodeType="withEffect">
                                  <p:stCondLst>
                                    <p:cond delay="410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8" dur="6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9" dur="600" fill="hold"/>
                                        <p:tgtEl>
                                          <p:spTgt spid="3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0" presetID="2" presetClass="entr" presetSubtype="2" decel="100000" fill="hold" grpId="0" nodeType="withEffect">
                                  <p:stCondLst>
                                    <p:cond delay="420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2" dur="6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3" dur="600" fill="hold"/>
                                        <p:tgtEl>
                                          <p:spTgt spid="3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4" presetID="2" presetClass="entr" presetSubtype="2" decel="100000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6" dur="600" fill="hold"/>
                                        <p:tgtEl>
                                          <p:spTgt spid="3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7" dur="600" fill="hold"/>
                                        <p:tgtEl>
                                          <p:spTgt spid="3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8" presetID="10" presetClass="entr" presetSubtype="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0" dur="600"/>
                                        <p:tgtEl>
                                          <p:spTgt spid="2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1" presetID="49" presetClass="entr" presetSubtype="0" decel="100000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3" dur="5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4" dur="5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5" dur="500" fill="hold"/>
                                        <p:tgtEl>
                                          <p:spTgt spid="3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6" dur="500"/>
                                        <p:tgtEl>
                                          <p:spTgt spid="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7" presetID="42" presetClass="entr" presetSubtype="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9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0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2" presetID="50" presetClass="entr" presetSubtype="0" decel="100000" fill="hold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+.3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5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6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7" presetID="21" presetClass="entr" presetSubtype="1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9" dur="20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0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1" dur="18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2" presetID="42" presetClass="entr" presetSubtype="0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4" dur="1000"/>
                                        <p:tgtEl>
                                          <p:spTgt spid="3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5" dur="100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6" dur="1000" fill="hold"/>
                                        <p:tgtEl>
                                          <p:spTgt spid="3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7" presetID="8" presetClass="emph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58" dur="2000" fill="hold"/>
                                        <p:tgtEl>
                                          <p:spTgt spid="139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  <p:bldP spid="22" grpId="0" animBg="1"/>
      <p:bldP spid="37" grpId="0" animBg="1"/>
      <p:bldP spid="7" grpId="0" animBg="1"/>
      <p:bldP spid="7" grpId="1" animBg="1"/>
      <p:bldP spid="53" grpId="0" animBg="1"/>
      <p:bldP spid="53" grpId="1" animBg="1"/>
      <p:bldP spid="54" grpId="0" animBg="1"/>
      <p:bldP spid="54" grpId="1" animBg="1"/>
      <p:bldP spid="280" grpId="0" animBg="1"/>
      <p:bldP spid="281" grpId="0" animBg="1"/>
      <p:bldP spid="282" grpId="0" animBg="1"/>
      <p:bldP spid="283" grpId="0" animBg="1"/>
      <p:bldP spid="284" grpId="0" animBg="1"/>
      <p:bldP spid="285" grpId="0" animBg="1"/>
      <p:bldP spid="286" grpId="0" animBg="1"/>
      <p:bldP spid="287" grpId="0" animBg="1"/>
      <p:bldP spid="288" grpId="0" animBg="1"/>
      <p:bldP spid="289" grpId="0" animBg="1"/>
      <p:bldP spid="290" grpId="0" animBg="1"/>
      <p:bldP spid="291" grpId="0" animBg="1"/>
      <p:bldP spid="292" grpId="0" animBg="1"/>
      <p:bldP spid="293" grpId="0" animBg="1"/>
      <p:bldP spid="294" grpId="0" animBg="1"/>
      <p:bldP spid="295" grpId="0" animBg="1"/>
      <p:bldP spid="296" grpId="0" animBg="1"/>
      <p:bldP spid="297" grpId="0" animBg="1"/>
      <p:bldP spid="298" grpId="0" animBg="1"/>
      <p:bldP spid="299" grpId="0" animBg="1"/>
      <p:bldP spid="300" grpId="0" animBg="1"/>
      <p:bldP spid="301" grpId="0" animBg="1"/>
      <p:bldP spid="302" grpId="0" animBg="1"/>
      <p:bldP spid="303" grpId="0" animBg="1"/>
      <p:bldP spid="304" grpId="0" animBg="1"/>
      <p:bldP spid="305" grpId="0" animBg="1"/>
      <p:bldP spid="306" grpId="0" animBg="1"/>
      <p:bldP spid="307" grpId="0" animBg="1"/>
      <p:bldP spid="308" grpId="0" animBg="1"/>
      <p:bldP spid="309" grpId="0" animBg="1"/>
      <p:bldP spid="310" grpId="0" animBg="1"/>
      <p:bldP spid="311" grpId="0" animBg="1"/>
      <p:bldP spid="312" grpId="0" animBg="1"/>
      <p:bldP spid="313" grpId="0" animBg="1"/>
      <p:bldP spid="314" grpId="0" animBg="1"/>
      <p:bldP spid="315" grpId="0" animBg="1"/>
      <p:bldP spid="316" grpId="0" animBg="1"/>
      <p:bldP spid="317" grpId="0" animBg="1"/>
      <p:bldP spid="318" grpId="0" animBg="1"/>
      <p:bldP spid="319" grpId="0" animBg="1"/>
      <p:bldP spid="320" grpId="0" animBg="1"/>
      <p:bldP spid="321" grpId="0" animBg="1"/>
      <p:bldP spid="322" grpId="0" animBg="1"/>
      <p:bldP spid="323" grpId="0" animBg="1"/>
      <p:bldP spid="324" grpId="0" animBg="1"/>
      <p:bldP spid="329" grpId="0"/>
      <p:bldP spid="139" grpId="0" animBg="1"/>
      <p:bldP spid="139" grpId="1" animBg="1"/>
      <p:bldP spid="139" grpId="2" animBg="1"/>
      <p:bldP spid="9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reeform 64">
            <a:extLst>
              <a:ext uri="{FF2B5EF4-FFF2-40B4-BE49-F238E27FC236}">
                <a16:creationId xmlns:a16="http://schemas.microsoft.com/office/drawing/2014/main" id="{7E944561-B7E0-2243-87EA-DAE9E6370764}"/>
              </a:ext>
            </a:extLst>
          </p:cNvPr>
          <p:cNvSpPr/>
          <p:nvPr/>
        </p:nvSpPr>
        <p:spPr>
          <a:xfrm>
            <a:off x="7333781" y="3208895"/>
            <a:ext cx="2475086" cy="2475086"/>
          </a:xfrm>
          <a:custGeom>
            <a:avLst/>
            <a:gdLst>
              <a:gd name="connsiteX0" fmla="*/ 1650057 w 3300114"/>
              <a:gd name="connsiteY0" fmla="*/ 491998 h 3300114"/>
              <a:gd name="connsiteX1" fmla="*/ 491998 w 3300114"/>
              <a:gd name="connsiteY1" fmla="*/ 1650057 h 3300114"/>
              <a:gd name="connsiteX2" fmla="*/ 1650057 w 3300114"/>
              <a:gd name="connsiteY2" fmla="*/ 2808116 h 3300114"/>
              <a:gd name="connsiteX3" fmla="*/ 2808116 w 3300114"/>
              <a:gd name="connsiteY3" fmla="*/ 1650057 h 3300114"/>
              <a:gd name="connsiteX4" fmla="*/ 1650057 w 3300114"/>
              <a:gd name="connsiteY4" fmla="*/ 491998 h 3300114"/>
              <a:gd name="connsiteX5" fmla="*/ 1650057 w 3300114"/>
              <a:gd name="connsiteY5" fmla="*/ 0 h 3300114"/>
              <a:gd name="connsiteX6" fmla="*/ 3300114 w 3300114"/>
              <a:gd name="connsiteY6" fmla="*/ 1650057 h 3300114"/>
              <a:gd name="connsiteX7" fmla="*/ 1650057 w 3300114"/>
              <a:gd name="connsiteY7" fmla="*/ 3300114 h 3300114"/>
              <a:gd name="connsiteX8" fmla="*/ 0 w 3300114"/>
              <a:gd name="connsiteY8" fmla="*/ 1650057 h 3300114"/>
              <a:gd name="connsiteX9" fmla="*/ 1650057 w 3300114"/>
              <a:gd name="connsiteY9" fmla="*/ 0 h 330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0114" h="3300114">
                <a:moveTo>
                  <a:pt x="1650057" y="491998"/>
                </a:moveTo>
                <a:cubicBezTo>
                  <a:pt x="1010479" y="491998"/>
                  <a:pt x="491998" y="1010479"/>
                  <a:pt x="491998" y="1650057"/>
                </a:cubicBezTo>
                <a:cubicBezTo>
                  <a:pt x="491998" y="2289635"/>
                  <a:pt x="1010479" y="2808116"/>
                  <a:pt x="1650057" y="2808116"/>
                </a:cubicBezTo>
                <a:cubicBezTo>
                  <a:pt x="2289635" y="2808116"/>
                  <a:pt x="2808116" y="2289635"/>
                  <a:pt x="2808116" y="1650057"/>
                </a:cubicBezTo>
                <a:cubicBezTo>
                  <a:pt x="2808116" y="1010479"/>
                  <a:pt x="2289635" y="491998"/>
                  <a:pt x="1650057" y="491998"/>
                </a:cubicBezTo>
                <a:close/>
                <a:moveTo>
                  <a:pt x="1650057" y="0"/>
                </a:moveTo>
                <a:cubicBezTo>
                  <a:pt x="2561358" y="0"/>
                  <a:pt x="3300114" y="738756"/>
                  <a:pt x="3300114" y="1650057"/>
                </a:cubicBezTo>
                <a:cubicBezTo>
                  <a:pt x="3300114" y="2561358"/>
                  <a:pt x="2561358" y="3300114"/>
                  <a:pt x="1650057" y="3300114"/>
                </a:cubicBezTo>
                <a:cubicBezTo>
                  <a:pt x="738756" y="3300114"/>
                  <a:pt x="0" y="2561358"/>
                  <a:pt x="0" y="1650057"/>
                </a:cubicBezTo>
                <a:cubicBezTo>
                  <a:pt x="0" y="738756"/>
                  <a:pt x="738756" y="0"/>
                  <a:pt x="1650057" y="0"/>
                </a:cubicBezTo>
                <a:close/>
              </a:path>
            </a:pathLst>
          </a:custGeom>
          <a:solidFill>
            <a:srgbClr val="F7A31A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4132EB85-94C1-2746-A8C6-810FF3CB11DF}"/>
              </a:ext>
            </a:extLst>
          </p:cNvPr>
          <p:cNvSpPr/>
          <p:nvPr/>
        </p:nvSpPr>
        <p:spPr>
          <a:xfrm>
            <a:off x="-1619310" y="-1571048"/>
            <a:ext cx="5711843" cy="5711843"/>
          </a:xfrm>
          <a:custGeom>
            <a:avLst/>
            <a:gdLst>
              <a:gd name="connsiteX0" fmla="*/ 3807896 w 7615790"/>
              <a:gd name="connsiteY0" fmla="*/ 1135402 h 7615790"/>
              <a:gd name="connsiteX1" fmla="*/ 1135402 w 7615790"/>
              <a:gd name="connsiteY1" fmla="*/ 3807896 h 7615790"/>
              <a:gd name="connsiteX2" fmla="*/ 3807896 w 7615790"/>
              <a:gd name="connsiteY2" fmla="*/ 6480390 h 7615790"/>
              <a:gd name="connsiteX3" fmla="*/ 6480390 w 7615790"/>
              <a:gd name="connsiteY3" fmla="*/ 3807896 h 7615790"/>
              <a:gd name="connsiteX4" fmla="*/ 3807896 w 7615790"/>
              <a:gd name="connsiteY4" fmla="*/ 1135402 h 7615790"/>
              <a:gd name="connsiteX5" fmla="*/ 3807895 w 7615790"/>
              <a:gd name="connsiteY5" fmla="*/ 0 h 7615790"/>
              <a:gd name="connsiteX6" fmla="*/ 7615790 w 7615790"/>
              <a:gd name="connsiteY6" fmla="*/ 3807895 h 7615790"/>
              <a:gd name="connsiteX7" fmla="*/ 3807895 w 7615790"/>
              <a:gd name="connsiteY7" fmla="*/ 7615790 h 7615790"/>
              <a:gd name="connsiteX8" fmla="*/ 0 w 7615790"/>
              <a:gd name="connsiteY8" fmla="*/ 3807895 h 7615790"/>
              <a:gd name="connsiteX9" fmla="*/ 3807895 w 7615790"/>
              <a:gd name="connsiteY9" fmla="*/ 0 h 7615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15790" h="7615790">
                <a:moveTo>
                  <a:pt x="3807896" y="1135402"/>
                </a:moveTo>
                <a:cubicBezTo>
                  <a:pt x="2331918" y="1135402"/>
                  <a:pt x="1135402" y="2331918"/>
                  <a:pt x="1135402" y="3807896"/>
                </a:cubicBezTo>
                <a:cubicBezTo>
                  <a:pt x="1135402" y="5283874"/>
                  <a:pt x="2331918" y="6480390"/>
                  <a:pt x="3807896" y="6480390"/>
                </a:cubicBezTo>
                <a:cubicBezTo>
                  <a:pt x="5283874" y="6480390"/>
                  <a:pt x="6480390" y="5283874"/>
                  <a:pt x="6480390" y="3807896"/>
                </a:cubicBezTo>
                <a:cubicBezTo>
                  <a:pt x="6480390" y="2331918"/>
                  <a:pt x="5283874" y="1135402"/>
                  <a:pt x="3807896" y="1135402"/>
                </a:cubicBezTo>
                <a:close/>
                <a:moveTo>
                  <a:pt x="3807895" y="0"/>
                </a:moveTo>
                <a:cubicBezTo>
                  <a:pt x="5910937" y="0"/>
                  <a:pt x="7615790" y="1704853"/>
                  <a:pt x="7615790" y="3807895"/>
                </a:cubicBezTo>
                <a:cubicBezTo>
                  <a:pt x="7615790" y="5910937"/>
                  <a:pt x="5910937" y="7615790"/>
                  <a:pt x="3807895" y="7615790"/>
                </a:cubicBezTo>
                <a:cubicBezTo>
                  <a:pt x="1704853" y="7615790"/>
                  <a:pt x="0" y="5910937"/>
                  <a:pt x="0" y="3807895"/>
                </a:cubicBezTo>
                <a:cubicBezTo>
                  <a:pt x="0" y="1704853"/>
                  <a:pt x="1704853" y="0"/>
                  <a:pt x="3807895" y="0"/>
                </a:cubicBezTo>
                <a:close/>
              </a:path>
            </a:pathLst>
          </a:custGeom>
          <a:solidFill>
            <a:srgbClr val="DA2127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8" name="Block Arc 57">
            <a:extLst>
              <a:ext uri="{FF2B5EF4-FFF2-40B4-BE49-F238E27FC236}">
                <a16:creationId xmlns:a16="http://schemas.microsoft.com/office/drawing/2014/main" id="{AEDCC929-29EE-774A-8F9D-B1529024F6A1}"/>
              </a:ext>
            </a:extLst>
          </p:cNvPr>
          <p:cNvSpPr>
            <a:spLocks noChangeAspect="1"/>
          </p:cNvSpPr>
          <p:nvPr/>
        </p:nvSpPr>
        <p:spPr>
          <a:xfrm rot="574851">
            <a:off x="-212701" y="-164438"/>
            <a:ext cx="2898624" cy="2898624"/>
          </a:xfrm>
          <a:prstGeom prst="blockArc">
            <a:avLst>
              <a:gd name="adj1" fmla="val 6129171"/>
              <a:gd name="adj2" fmla="val 20975349"/>
              <a:gd name="adj3" fmla="val 11754"/>
            </a:avLst>
          </a:prstGeom>
          <a:solidFill>
            <a:srgbClr val="F7A31A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C22EAD3-359E-49FF-A75B-A171A4A65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0" y="1714501"/>
            <a:ext cx="155075" cy="1476317"/>
          </a:xfrm>
          <a:prstGeom prst="rect">
            <a:avLst/>
          </a:prstGeom>
        </p:spPr>
      </p:pic>
      <p:sp>
        <p:nvSpPr>
          <p:cNvPr id="61" name="Rounded Rectangle 8">
            <a:extLst>
              <a:ext uri="{FF2B5EF4-FFF2-40B4-BE49-F238E27FC236}">
                <a16:creationId xmlns:a16="http://schemas.microsoft.com/office/drawing/2014/main" id="{853E78BB-F466-49DC-9C5E-665FF5948EC6}"/>
              </a:ext>
            </a:extLst>
          </p:cNvPr>
          <p:cNvSpPr/>
          <p:nvPr/>
        </p:nvSpPr>
        <p:spPr bwMode="auto">
          <a:xfrm rot="16200000">
            <a:off x="-952288" y="2786379"/>
            <a:ext cx="3712874" cy="387476"/>
          </a:xfrm>
          <a:prstGeom prst="round2SameRect">
            <a:avLst>
              <a:gd name="adj1" fmla="val 28802"/>
              <a:gd name="adj2" fmla="val 0"/>
            </a:avLst>
          </a:prstGeom>
          <a:solidFill>
            <a:srgbClr val="F36523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79" name="Graphic 8">
            <a:extLst>
              <a:ext uri="{FF2B5EF4-FFF2-40B4-BE49-F238E27FC236}">
                <a16:creationId xmlns:a16="http://schemas.microsoft.com/office/drawing/2014/main" id="{6EF76061-6959-44B1-AA8C-38991226D07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80" t="482" r="25558" b="-482"/>
          <a:stretch/>
        </p:blipFill>
        <p:spPr bwMode="auto">
          <a:xfrm>
            <a:off x="2461392" y="3092326"/>
            <a:ext cx="2203200" cy="204494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" name="Graphic 3">
            <a:extLst>
              <a:ext uri="{FF2B5EF4-FFF2-40B4-BE49-F238E27FC236}">
                <a16:creationId xmlns:a16="http://schemas.microsoft.com/office/drawing/2014/main" id="{502C3445-5575-47BD-8F80-4CBBFF449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99785" y="829893"/>
            <a:ext cx="2097020" cy="20970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Graphic 14">
            <a:extLst>
              <a:ext uri="{FF2B5EF4-FFF2-40B4-BE49-F238E27FC236}">
                <a16:creationId xmlns:a16="http://schemas.microsoft.com/office/drawing/2014/main" id="{87184FCB-DC58-421C-8CBC-17714C210F8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52434" y="499663"/>
            <a:ext cx="2202875" cy="220287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3" name="Graphic 7">
            <a:extLst>
              <a:ext uri="{FF2B5EF4-FFF2-40B4-BE49-F238E27FC236}">
                <a16:creationId xmlns:a16="http://schemas.microsoft.com/office/drawing/2014/main" id="{7B2B49E5-D468-4DCD-9EB3-2453F387B9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9645" y="2548517"/>
            <a:ext cx="2906251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" name="Graphic 7">
            <a:extLst>
              <a:ext uri="{FF2B5EF4-FFF2-40B4-BE49-F238E27FC236}">
                <a16:creationId xmlns:a16="http://schemas.microsoft.com/office/drawing/2014/main" id="{16FB049E-2AC6-42EE-9262-AF96947281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38992" y="2203309"/>
            <a:ext cx="2197428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Graphic 7">
            <a:extLst>
              <a:ext uri="{FF2B5EF4-FFF2-40B4-BE49-F238E27FC236}">
                <a16:creationId xmlns:a16="http://schemas.microsoft.com/office/drawing/2014/main" id="{5EDD2EC2-E25D-457A-A5A4-B737001F00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25584" y="4748664"/>
            <a:ext cx="2886824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971584E5-1241-4084-9659-BDBA913442E2}"/>
              </a:ext>
            </a:extLst>
          </p:cNvPr>
          <p:cNvSpPr txBox="1"/>
          <p:nvPr/>
        </p:nvSpPr>
        <p:spPr>
          <a:xfrm>
            <a:off x="7242886" y="2262450"/>
            <a:ext cx="20203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Myanmar Text" panose="020B0502040204020203" pitchFamily="34" charset="0"/>
              </a:rPr>
              <a:t>Visit </a:t>
            </a:r>
            <a:r>
              <a:rPr kumimoji="0" lang="en-US" sz="10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Myanmar Text" panose="020B0502040204020203" pitchFamily="34" charset="0"/>
              </a:rPr>
              <a:t>Trakai</a:t>
            </a: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Myanmar Text" panose="020B0502040204020203" pitchFamily="34" charset="0"/>
              </a:rPr>
              <a:t> (the old capital)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anmar Text" panose="020B0502040204020203" pitchFamily="34" charset="0"/>
              <a:ea typeface="+mn-ea"/>
              <a:cs typeface="Myanmar Text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DDD9CD1-E44A-4B99-9D43-5D9C574F21A8}"/>
              </a:ext>
            </a:extLst>
          </p:cNvPr>
          <p:cNvSpPr txBox="1"/>
          <p:nvPr/>
        </p:nvSpPr>
        <p:spPr>
          <a:xfrm>
            <a:off x="2974615" y="4771047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Fly with hot air balloons over Vilnius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42A69F9-879B-4B02-9113-4D76923F9C54}"/>
              </a:ext>
            </a:extLst>
          </p:cNvPr>
          <p:cNvSpPr txBox="1"/>
          <p:nvPr/>
        </p:nvSpPr>
        <p:spPr>
          <a:xfrm>
            <a:off x="4645631" y="2007101"/>
            <a:ext cx="1583177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KERNAV</a:t>
            </a:r>
            <a:r>
              <a:rPr kumimoji="0" lang="lt-LT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Ė</a:t>
            </a:r>
            <a:r>
              <a:rPr kumimoji="0" lang="en-US" sz="675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 – FIRST CAPITAL (1279)</a:t>
            </a:r>
            <a:endParaRPr kumimoji="0" lang="lt-LT" sz="67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279F52A2-F3D5-41FC-A357-E94CDA784FA2}"/>
              </a:ext>
            </a:extLst>
          </p:cNvPr>
          <p:cNvSpPr txBox="1"/>
          <p:nvPr/>
        </p:nvSpPr>
        <p:spPr>
          <a:xfrm>
            <a:off x="1427866" y="2605210"/>
            <a:ext cx="20718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VILNIUS – CAPITAL OF LITHUANIA</a:t>
            </a:r>
            <a:endParaRPr kumimoji="0" lang="lt-LT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" name="Graphic 14">
            <a:extLst>
              <a:ext uri="{FF2B5EF4-FFF2-40B4-BE49-F238E27FC236}">
                <a16:creationId xmlns:a16="http://schemas.microsoft.com/office/drawing/2014/main" id="{139C9F15-BFA7-48C2-8C77-9F45F51995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07" t="339" r="15155" b="-339"/>
          <a:stretch/>
        </p:blipFill>
        <p:spPr bwMode="auto">
          <a:xfrm>
            <a:off x="4406151" y="1406653"/>
            <a:ext cx="2322369" cy="2203200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23" name="Graphic 7">
            <a:extLst>
              <a:ext uri="{FF2B5EF4-FFF2-40B4-BE49-F238E27FC236}">
                <a16:creationId xmlns:a16="http://schemas.microsoft.com/office/drawing/2014/main" id="{E8D1E60D-BC27-4378-B718-B03465C5D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5876" y="3003460"/>
            <a:ext cx="3025863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11AFC8B8-FDFA-4DEA-AA08-8F888D1E6224}"/>
              </a:ext>
            </a:extLst>
          </p:cNvPr>
          <p:cNvSpPr txBox="1"/>
          <p:nvPr/>
        </p:nvSpPr>
        <p:spPr>
          <a:xfrm>
            <a:off x="5110366" y="3077235"/>
            <a:ext cx="284350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Walk in the  old town of Vilnius (UNESCO)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1340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utoRev="1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3000" fill="hold"/>
                                        <p:tgtEl>
                                          <p:spTgt spid="5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0" nodeType="with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58"/>
                                        </p:tgtEl>
                                      </p:cBhvr>
                                      <p:by x="170000" y="17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6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6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6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8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8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8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57" grpId="0" animBg="1"/>
      <p:bldP spid="58" grpId="0" animBg="1"/>
      <p:bldP spid="61" grpId="0" animBg="1"/>
      <p:bldP spid="37" grpId="0"/>
      <p:bldP spid="38" grpId="0"/>
      <p:bldP spid="39" grpId="0"/>
      <p:bldP spid="40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Box 28">
            <a:extLst>
              <a:ext uri="{FF2B5EF4-FFF2-40B4-BE49-F238E27FC236}">
                <a16:creationId xmlns:a16="http://schemas.microsoft.com/office/drawing/2014/main" id="{0A1F0B67-62C7-492E-AC17-D2CE136F9450}"/>
              </a:ext>
            </a:extLst>
          </p:cNvPr>
          <p:cNvSpPr txBox="1"/>
          <p:nvPr/>
        </p:nvSpPr>
        <p:spPr>
          <a:xfrm>
            <a:off x="180807" y="1144809"/>
            <a:ext cx="1890792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dirty="0">
                <a:solidFill>
                  <a:srgbClr val="FFFFFF"/>
                </a:solidFill>
              </a:rPr>
              <a:t>Executive Team</a:t>
            </a:r>
          </a:p>
          <a:p>
            <a:pPr algn="ctr"/>
            <a:endParaRPr lang="en-US" sz="1500" dirty="0">
              <a:solidFill>
                <a:srgbClr val="FFFFFF"/>
              </a:solidFill>
            </a:endParaRPr>
          </a:p>
          <a:p>
            <a:pPr algn="ctr"/>
            <a:r>
              <a:rPr lang="en-US" sz="900" dirty="0">
                <a:solidFill>
                  <a:srgbClr val="FFFFFF"/>
                </a:solidFill>
              </a:rPr>
              <a:t>The roadmap developed for the executive team aims to secure buy-in for the product vision</a:t>
            </a:r>
          </a:p>
        </p:txBody>
      </p:sp>
      <p:pic>
        <p:nvPicPr>
          <p:cNvPr id="2" name="Picture Placeholder 1"/>
          <p:cNvPicPr>
            <a:picLocks noGrp="1" noChangeAspect="1"/>
          </p:cNvPicPr>
          <p:nvPr>
            <p:ph type="pic" sz="quarter" idx="38"/>
          </p:nvPr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6136"/>
                    </a14:imgEffect>
                    <a14:imgEffect>
                      <a14:saturation sat="68000"/>
                    </a14:imgEffect>
                    <a14:imgEffect>
                      <a14:brightnessContrast bright="3000" contrast="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0627" y="352175"/>
            <a:ext cx="1812031" cy="2619417"/>
          </a:xfrm>
          <a:noFill/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2970AF0D-6F69-4BA8-9E3E-240DAEA7F161}"/>
              </a:ext>
            </a:extLst>
          </p:cNvPr>
          <p:cNvSpPr txBox="1">
            <a:spLocks noChangeArrowheads="1"/>
          </p:cNvSpPr>
          <p:nvPr/>
        </p:nvSpPr>
        <p:spPr>
          <a:xfrm>
            <a:off x="593871" y="3589029"/>
            <a:ext cx="2578894" cy="129758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Named after </a:t>
            </a:r>
            <a:r>
              <a:rPr lang="lt-LT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professor</a:t>
            </a:r>
            <a:br>
              <a:rPr lang="en-US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</a:br>
            <a:r>
              <a:rPr lang="en-US" altLang="en-US" sz="1650" b="1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Mykolas </a:t>
            </a:r>
            <a:r>
              <a:rPr lang="en-US" altLang="en-US" sz="1650" b="1" dirty="0" err="1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Römeris</a:t>
            </a:r>
            <a:r>
              <a:rPr lang="en-US" altLang="en-US" sz="1650" b="1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 </a:t>
            </a:r>
            <a:r>
              <a:rPr lang="en-US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(1880-1945) - </a:t>
            </a:r>
            <a:r>
              <a:rPr lang="en-GB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prominent lawyer, </a:t>
            </a:r>
            <a:r>
              <a:rPr lang="en-US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the</a:t>
            </a:r>
            <a:r>
              <a:rPr lang="lt-LT" altLang="en-US" sz="1650" dirty="0">
                <a:solidFill>
                  <a:srgbClr val="DA2127"/>
                </a:solidFill>
                <a:latin typeface="Myriad Pro"/>
                <a:cs typeface="Nirmala UI Semilight" panose="020B0402040204020203" pitchFamily="34" charset="0"/>
              </a:rPr>
              <a:t> founder of Lithuanian Constitutional Law</a:t>
            </a:r>
          </a:p>
        </p:txBody>
      </p:sp>
      <p:cxnSp>
        <p:nvCxnSpPr>
          <p:cNvPr id="17" name="Straight Connector 19">
            <a:extLst>
              <a:ext uri="{FF2B5EF4-FFF2-40B4-BE49-F238E27FC236}">
                <a16:creationId xmlns:a16="http://schemas.microsoft.com/office/drawing/2014/main" id="{E5A3AC47-CCDA-4DB8-A07C-B3C7CE25658B}"/>
              </a:ext>
            </a:extLst>
          </p:cNvPr>
          <p:cNvCxnSpPr>
            <a:cxnSpLocks/>
            <a:endCxn id="16" idx="1"/>
          </p:cNvCxnSpPr>
          <p:nvPr/>
        </p:nvCxnSpPr>
        <p:spPr>
          <a:xfrm rot="16200000" flipH="1">
            <a:off x="49408" y="3693359"/>
            <a:ext cx="904421" cy="184506"/>
          </a:xfrm>
          <a:prstGeom prst="bentConnector2">
            <a:avLst/>
          </a:prstGeom>
          <a:ln w="28575">
            <a:solidFill>
              <a:srgbClr val="DA212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6">
            <a:extLst>
              <a:ext uri="{FF2B5EF4-FFF2-40B4-BE49-F238E27FC236}">
                <a16:creationId xmlns:a16="http://schemas.microsoft.com/office/drawing/2014/main" id="{7C5C86A0-5FA2-47C9-B47C-AA28CE6D0F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2765" y="804331"/>
            <a:ext cx="3075834" cy="2569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en-GB" altLang="en-US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Internationally minded, innovative leading social sciences University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en-GB" altLang="en-US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Established in </a:t>
            </a:r>
            <a:r>
              <a:rPr lang="en-GB" altLang="en-US" b="1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1990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en-GB" altLang="en-US" b="1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~5700 </a:t>
            </a:r>
            <a:r>
              <a:rPr lang="en-GB" altLang="en-US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of students </a:t>
            </a:r>
          </a:p>
          <a:p>
            <a:pPr>
              <a:spcBef>
                <a:spcPts val="900"/>
              </a:spcBef>
              <a:spcAft>
                <a:spcPts val="450"/>
              </a:spcAft>
            </a:pPr>
            <a:r>
              <a:rPr lang="en-GB" altLang="en-US" b="1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~</a:t>
            </a:r>
            <a:r>
              <a:rPr lang="en-US" altLang="en-US" b="1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7</a:t>
            </a:r>
            <a:r>
              <a:rPr lang="en-GB" altLang="en-US" b="1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00 </a:t>
            </a:r>
            <a:r>
              <a:rPr lang="en-GB" altLang="en-US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international students coming from </a:t>
            </a:r>
            <a:r>
              <a:rPr lang="en-GB" altLang="en-US" b="1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70+</a:t>
            </a:r>
            <a:r>
              <a:rPr lang="en-GB" altLang="en-US" dirty="0">
                <a:solidFill>
                  <a:srgbClr val="666666"/>
                </a:solidFill>
                <a:latin typeface="Myriad Pro"/>
                <a:cs typeface="Nirmala UI Semilight" panose="020B0402040204020203" pitchFamily="34" charset="0"/>
              </a:rPr>
              <a:t> countries</a:t>
            </a:r>
          </a:p>
        </p:txBody>
      </p:sp>
      <p:sp>
        <p:nvSpPr>
          <p:cNvPr id="33" name="Rectangle 2">
            <a:extLst>
              <a:ext uri="{FF2B5EF4-FFF2-40B4-BE49-F238E27FC236}">
                <a16:creationId xmlns:a16="http://schemas.microsoft.com/office/drawing/2014/main" id="{8FA2889C-96BB-4B2D-9E5A-8DECD1E97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74633" y="3565446"/>
            <a:ext cx="1966211" cy="1361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n-US" sz="1650" dirty="0">
                <a:solidFill>
                  <a:schemeClr val="bg2">
                    <a:lumMod val="50000"/>
                  </a:schemeClr>
                </a:solidFill>
                <a:latin typeface="Myriad Pro"/>
                <a:cs typeface="Nirmala UI Semilight" panose="020B0402040204020203" pitchFamily="34" charset="0"/>
              </a:rPr>
              <a:t>Bachelor (3,5-4 y.)</a:t>
            </a:r>
          </a:p>
          <a:p>
            <a:pPr eaLnBrk="1" hangingPunct="1"/>
            <a:r>
              <a:rPr lang="en-US" altLang="en-US" sz="1650" dirty="0">
                <a:solidFill>
                  <a:schemeClr val="bg2">
                    <a:lumMod val="50000"/>
                  </a:schemeClr>
                </a:solidFill>
                <a:latin typeface="Myriad Pro"/>
                <a:cs typeface="Nirmala UI Semilight" panose="020B0402040204020203" pitchFamily="34" charset="0"/>
              </a:rPr>
              <a:t>Master (1,5-2 y.)</a:t>
            </a:r>
          </a:p>
          <a:p>
            <a:pPr eaLnBrk="1" hangingPunct="1"/>
            <a:r>
              <a:rPr lang="en-US" altLang="en-US" sz="1650" dirty="0">
                <a:solidFill>
                  <a:schemeClr val="bg2">
                    <a:lumMod val="50000"/>
                  </a:schemeClr>
                </a:solidFill>
                <a:latin typeface="Myriad Pro"/>
                <a:cs typeface="Nirmala UI Semilight" panose="020B0402040204020203" pitchFamily="34" charset="0"/>
              </a:rPr>
              <a:t>LLM (1 y.)</a:t>
            </a:r>
          </a:p>
          <a:p>
            <a:pPr eaLnBrk="1" hangingPunct="1"/>
            <a:r>
              <a:rPr lang="en-US" altLang="en-US" sz="1650" dirty="0">
                <a:solidFill>
                  <a:schemeClr val="bg2">
                    <a:lumMod val="50000"/>
                  </a:schemeClr>
                </a:solidFill>
                <a:latin typeface="Myriad Pro"/>
                <a:cs typeface="Nirmala UI Semilight" panose="020B0402040204020203" pitchFamily="34" charset="0"/>
              </a:rPr>
              <a:t>MBA (1 y.) </a:t>
            </a:r>
          </a:p>
          <a:p>
            <a:pPr eaLnBrk="1" hangingPunct="1"/>
            <a:r>
              <a:rPr lang="en-US" altLang="en-US" sz="1650" dirty="0">
                <a:solidFill>
                  <a:schemeClr val="bg2">
                    <a:lumMod val="50000"/>
                  </a:schemeClr>
                </a:solidFill>
                <a:latin typeface="Myriad Pro"/>
                <a:cs typeface="Nirmala UI Semilight" panose="020B0402040204020203" pitchFamily="34" charset="0"/>
              </a:rPr>
              <a:t>Doctoral (4-6 y.)</a:t>
            </a:r>
          </a:p>
        </p:txBody>
      </p:sp>
      <p:cxnSp>
        <p:nvCxnSpPr>
          <p:cNvPr id="34" name="Straight Connector 38">
            <a:extLst>
              <a:ext uri="{FF2B5EF4-FFF2-40B4-BE49-F238E27FC236}">
                <a16:creationId xmlns:a16="http://schemas.microsoft.com/office/drawing/2014/main" id="{4B773BB8-1AF7-4C17-8C41-9B895EA7005C}"/>
              </a:ext>
            </a:extLst>
          </p:cNvPr>
          <p:cNvCxnSpPr>
            <a:cxnSpLocks/>
          </p:cNvCxnSpPr>
          <p:nvPr/>
        </p:nvCxnSpPr>
        <p:spPr>
          <a:xfrm>
            <a:off x="7559749" y="3077777"/>
            <a:ext cx="0" cy="511252"/>
          </a:xfrm>
          <a:prstGeom prst="straightConnector1">
            <a:avLst/>
          </a:prstGeom>
          <a:ln w="28575">
            <a:solidFill>
              <a:srgbClr val="DA212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2BBB9B14-2029-4192-A369-A3CB991C82E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" y="1714502"/>
            <a:ext cx="155075" cy="1476317"/>
          </a:xfrm>
          <a:prstGeom prst="rect">
            <a:avLst/>
          </a:prstGeom>
        </p:spPr>
      </p:pic>
      <p:pic>
        <p:nvPicPr>
          <p:cNvPr id="12" name="Picture Placeholder 11"/>
          <p:cNvPicPr>
            <a:picLocks noGrp="1" noChangeAspect="1"/>
          </p:cNvPicPr>
          <p:nvPr>
            <p:ph type="pic" sz="quarter" idx="42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347" y="396215"/>
            <a:ext cx="1784784" cy="2586505"/>
          </a:xfrm>
          <a:noFill/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DC53152-2E86-4790-A59D-D105A15D786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78656" y="64430"/>
            <a:ext cx="965246" cy="840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5223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Freeform 64">
            <a:extLst>
              <a:ext uri="{FF2B5EF4-FFF2-40B4-BE49-F238E27FC236}">
                <a16:creationId xmlns:a16="http://schemas.microsoft.com/office/drawing/2014/main" id="{7E944561-B7E0-2243-87EA-DAE9E6370764}"/>
              </a:ext>
            </a:extLst>
          </p:cNvPr>
          <p:cNvSpPr/>
          <p:nvPr/>
        </p:nvSpPr>
        <p:spPr>
          <a:xfrm>
            <a:off x="7333781" y="3208895"/>
            <a:ext cx="2475086" cy="2475086"/>
          </a:xfrm>
          <a:custGeom>
            <a:avLst/>
            <a:gdLst>
              <a:gd name="connsiteX0" fmla="*/ 1650057 w 3300114"/>
              <a:gd name="connsiteY0" fmla="*/ 491998 h 3300114"/>
              <a:gd name="connsiteX1" fmla="*/ 491998 w 3300114"/>
              <a:gd name="connsiteY1" fmla="*/ 1650057 h 3300114"/>
              <a:gd name="connsiteX2" fmla="*/ 1650057 w 3300114"/>
              <a:gd name="connsiteY2" fmla="*/ 2808116 h 3300114"/>
              <a:gd name="connsiteX3" fmla="*/ 2808116 w 3300114"/>
              <a:gd name="connsiteY3" fmla="*/ 1650057 h 3300114"/>
              <a:gd name="connsiteX4" fmla="*/ 1650057 w 3300114"/>
              <a:gd name="connsiteY4" fmla="*/ 491998 h 3300114"/>
              <a:gd name="connsiteX5" fmla="*/ 1650057 w 3300114"/>
              <a:gd name="connsiteY5" fmla="*/ 0 h 3300114"/>
              <a:gd name="connsiteX6" fmla="*/ 3300114 w 3300114"/>
              <a:gd name="connsiteY6" fmla="*/ 1650057 h 3300114"/>
              <a:gd name="connsiteX7" fmla="*/ 1650057 w 3300114"/>
              <a:gd name="connsiteY7" fmla="*/ 3300114 h 3300114"/>
              <a:gd name="connsiteX8" fmla="*/ 0 w 3300114"/>
              <a:gd name="connsiteY8" fmla="*/ 1650057 h 3300114"/>
              <a:gd name="connsiteX9" fmla="*/ 1650057 w 3300114"/>
              <a:gd name="connsiteY9" fmla="*/ 0 h 330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0114" h="3300114">
                <a:moveTo>
                  <a:pt x="1650057" y="491998"/>
                </a:moveTo>
                <a:cubicBezTo>
                  <a:pt x="1010479" y="491998"/>
                  <a:pt x="491998" y="1010479"/>
                  <a:pt x="491998" y="1650057"/>
                </a:cubicBezTo>
                <a:cubicBezTo>
                  <a:pt x="491998" y="2289635"/>
                  <a:pt x="1010479" y="2808116"/>
                  <a:pt x="1650057" y="2808116"/>
                </a:cubicBezTo>
                <a:cubicBezTo>
                  <a:pt x="2289635" y="2808116"/>
                  <a:pt x="2808116" y="2289635"/>
                  <a:pt x="2808116" y="1650057"/>
                </a:cubicBezTo>
                <a:cubicBezTo>
                  <a:pt x="2808116" y="1010479"/>
                  <a:pt x="2289635" y="491998"/>
                  <a:pt x="1650057" y="491998"/>
                </a:cubicBezTo>
                <a:close/>
                <a:moveTo>
                  <a:pt x="1650057" y="0"/>
                </a:moveTo>
                <a:cubicBezTo>
                  <a:pt x="2561358" y="0"/>
                  <a:pt x="3300114" y="738756"/>
                  <a:pt x="3300114" y="1650057"/>
                </a:cubicBezTo>
                <a:cubicBezTo>
                  <a:pt x="3300114" y="2561358"/>
                  <a:pt x="2561358" y="3300114"/>
                  <a:pt x="1650057" y="3300114"/>
                </a:cubicBezTo>
                <a:cubicBezTo>
                  <a:pt x="738756" y="3300114"/>
                  <a:pt x="0" y="2561358"/>
                  <a:pt x="0" y="1650057"/>
                </a:cubicBezTo>
                <a:cubicBezTo>
                  <a:pt x="0" y="738756"/>
                  <a:pt x="738756" y="0"/>
                  <a:pt x="1650057" y="0"/>
                </a:cubicBezTo>
                <a:close/>
              </a:path>
            </a:pathLst>
          </a:custGeom>
          <a:solidFill>
            <a:srgbClr val="F7A31A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7" name="Freeform 56">
            <a:extLst>
              <a:ext uri="{FF2B5EF4-FFF2-40B4-BE49-F238E27FC236}">
                <a16:creationId xmlns:a16="http://schemas.microsoft.com/office/drawing/2014/main" id="{4132EB85-94C1-2746-A8C6-810FF3CB11DF}"/>
              </a:ext>
            </a:extLst>
          </p:cNvPr>
          <p:cNvSpPr/>
          <p:nvPr/>
        </p:nvSpPr>
        <p:spPr>
          <a:xfrm>
            <a:off x="-1619310" y="-1571048"/>
            <a:ext cx="5711843" cy="5711843"/>
          </a:xfrm>
          <a:custGeom>
            <a:avLst/>
            <a:gdLst>
              <a:gd name="connsiteX0" fmla="*/ 3807896 w 7615790"/>
              <a:gd name="connsiteY0" fmla="*/ 1135402 h 7615790"/>
              <a:gd name="connsiteX1" fmla="*/ 1135402 w 7615790"/>
              <a:gd name="connsiteY1" fmla="*/ 3807896 h 7615790"/>
              <a:gd name="connsiteX2" fmla="*/ 3807896 w 7615790"/>
              <a:gd name="connsiteY2" fmla="*/ 6480390 h 7615790"/>
              <a:gd name="connsiteX3" fmla="*/ 6480390 w 7615790"/>
              <a:gd name="connsiteY3" fmla="*/ 3807896 h 7615790"/>
              <a:gd name="connsiteX4" fmla="*/ 3807896 w 7615790"/>
              <a:gd name="connsiteY4" fmla="*/ 1135402 h 7615790"/>
              <a:gd name="connsiteX5" fmla="*/ 3807895 w 7615790"/>
              <a:gd name="connsiteY5" fmla="*/ 0 h 7615790"/>
              <a:gd name="connsiteX6" fmla="*/ 7615790 w 7615790"/>
              <a:gd name="connsiteY6" fmla="*/ 3807895 h 7615790"/>
              <a:gd name="connsiteX7" fmla="*/ 3807895 w 7615790"/>
              <a:gd name="connsiteY7" fmla="*/ 7615790 h 7615790"/>
              <a:gd name="connsiteX8" fmla="*/ 0 w 7615790"/>
              <a:gd name="connsiteY8" fmla="*/ 3807895 h 7615790"/>
              <a:gd name="connsiteX9" fmla="*/ 3807895 w 7615790"/>
              <a:gd name="connsiteY9" fmla="*/ 0 h 76157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615790" h="7615790">
                <a:moveTo>
                  <a:pt x="3807896" y="1135402"/>
                </a:moveTo>
                <a:cubicBezTo>
                  <a:pt x="2331918" y="1135402"/>
                  <a:pt x="1135402" y="2331918"/>
                  <a:pt x="1135402" y="3807896"/>
                </a:cubicBezTo>
                <a:cubicBezTo>
                  <a:pt x="1135402" y="5283874"/>
                  <a:pt x="2331918" y="6480390"/>
                  <a:pt x="3807896" y="6480390"/>
                </a:cubicBezTo>
                <a:cubicBezTo>
                  <a:pt x="5283874" y="6480390"/>
                  <a:pt x="6480390" y="5283874"/>
                  <a:pt x="6480390" y="3807896"/>
                </a:cubicBezTo>
                <a:cubicBezTo>
                  <a:pt x="6480390" y="2331918"/>
                  <a:pt x="5283874" y="1135402"/>
                  <a:pt x="3807896" y="1135402"/>
                </a:cubicBezTo>
                <a:close/>
                <a:moveTo>
                  <a:pt x="3807895" y="0"/>
                </a:moveTo>
                <a:cubicBezTo>
                  <a:pt x="5910937" y="0"/>
                  <a:pt x="7615790" y="1704853"/>
                  <a:pt x="7615790" y="3807895"/>
                </a:cubicBezTo>
                <a:cubicBezTo>
                  <a:pt x="7615790" y="5910937"/>
                  <a:pt x="5910937" y="7615790"/>
                  <a:pt x="3807895" y="7615790"/>
                </a:cubicBezTo>
                <a:cubicBezTo>
                  <a:pt x="1704853" y="7615790"/>
                  <a:pt x="0" y="5910937"/>
                  <a:pt x="0" y="3807895"/>
                </a:cubicBezTo>
                <a:cubicBezTo>
                  <a:pt x="0" y="1704853"/>
                  <a:pt x="1704853" y="0"/>
                  <a:pt x="3807895" y="0"/>
                </a:cubicBezTo>
                <a:close/>
              </a:path>
            </a:pathLst>
          </a:custGeom>
          <a:solidFill>
            <a:srgbClr val="DA2127">
              <a:alpha val="65000"/>
            </a:srgbClr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100"/>
              <a:buFontTx/>
              <a:buNone/>
              <a:tabLst/>
              <a:defRPr/>
            </a:pPr>
            <a:endParaRPr kumimoji="0" sz="825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58" name="Block Arc 57">
            <a:extLst>
              <a:ext uri="{FF2B5EF4-FFF2-40B4-BE49-F238E27FC236}">
                <a16:creationId xmlns:a16="http://schemas.microsoft.com/office/drawing/2014/main" id="{AEDCC929-29EE-774A-8F9D-B1529024F6A1}"/>
              </a:ext>
            </a:extLst>
          </p:cNvPr>
          <p:cNvSpPr>
            <a:spLocks noChangeAspect="1"/>
          </p:cNvSpPr>
          <p:nvPr/>
        </p:nvSpPr>
        <p:spPr>
          <a:xfrm rot="574851">
            <a:off x="-100629" y="-95044"/>
            <a:ext cx="2898624" cy="2898624"/>
          </a:xfrm>
          <a:prstGeom prst="blockArc">
            <a:avLst>
              <a:gd name="adj1" fmla="val 6129171"/>
              <a:gd name="adj2" fmla="val 20975349"/>
              <a:gd name="adj3" fmla="val 11754"/>
            </a:avLst>
          </a:prstGeom>
          <a:solidFill>
            <a:srgbClr val="F7A31A">
              <a:alpha val="7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6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7C22EAD3-359E-49FF-A75B-A171A4A65C1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80" y="1714501"/>
            <a:ext cx="155075" cy="1476317"/>
          </a:xfrm>
          <a:prstGeom prst="rect">
            <a:avLst/>
          </a:prstGeom>
        </p:spPr>
      </p:pic>
      <p:sp>
        <p:nvSpPr>
          <p:cNvPr id="60" name="Фигура">
            <a:extLst>
              <a:ext uri="{FF2B5EF4-FFF2-40B4-BE49-F238E27FC236}">
                <a16:creationId xmlns:a16="http://schemas.microsoft.com/office/drawing/2014/main" id="{7A453FA9-A813-4076-B0AF-AB558D494100}"/>
              </a:ext>
            </a:extLst>
          </p:cNvPr>
          <p:cNvSpPr/>
          <p:nvPr/>
        </p:nvSpPr>
        <p:spPr>
          <a:xfrm>
            <a:off x="961206" y="1123680"/>
            <a:ext cx="3155836" cy="3712874"/>
          </a:xfrm>
          <a:prstGeom prst="roundRect">
            <a:avLst>
              <a:gd name="adj" fmla="val 4618"/>
            </a:avLst>
          </a:prstGeom>
          <a:solidFill>
            <a:schemeClr val="bg1"/>
          </a:solidFill>
          <a:ln w="12700">
            <a:noFill/>
            <a:miter lim="400000"/>
          </a:ln>
          <a:effectLst>
            <a:outerShdw blurRad="254000" dist="38100" dir="8100000" algn="tr" rotWithShape="0">
              <a:prstClr val="black">
                <a:alpha val="10000"/>
              </a:prstClr>
            </a:outerShdw>
          </a:effectLst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61" name="Rounded Rectangle 8">
            <a:extLst>
              <a:ext uri="{FF2B5EF4-FFF2-40B4-BE49-F238E27FC236}">
                <a16:creationId xmlns:a16="http://schemas.microsoft.com/office/drawing/2014/main" id="{853E78BB-F466-49DC-9C5E-665FF5948EC6}"/>
              </a:ext>
            </a:extLst>
          </p:cNvPr>
          <p:cNvSpPr/>
          <p:nvPr/>
        </p:nvSpPr>
        <p:spPr bwMode="auto">
          <a:xfrm rot="16200000">
            <a:off x="-824472" y="2786379"/>
            <a:ext cx="3712874" cy="387476"/>
          </a:xfrm>
          <a:prstGeom prst="round2SameRect">
            <a:avLst>
              <a:gd name="adj1" fmla="val 28802"/>
              <a:gd name="adj2" fmla="val 0"/>
            </a:avLst>
          </a:prstGeom>
          <a:solidFill>
            <a:srgbClr val="F36523"/>
          </a:solidFill>
          <a:ln w="9525">
            <a:noFill/>
            <a:round/>
            <a:headEnd/>
            <a:tailEnd/>
          </a:ln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HILOSOPHY OF STUDIES AT MRU</a:t>
            </a:r>
          </a:p>
        </p:txBody>
      </p:sp>
      <p:sp>
        <p:nvSpPr>
          <p:cNvPr id="62" name="Freeform 14">
            <a:extLst>
              <a:ext uri="{FF2B5EF4-FFF2-40B4-BE49-F238E27FC236}">
                <a16:creationId xmlns:a16="http://schemas.microsoft.com/office/drawing/2014/main" id="{591B089B-DD15-4841-8C5B-7B39E1AA79C6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851081" y="1715900"/>
            <a:ext cx="432000" cy="432000"/>
          </a:xfrm>
          <a:prstGeom prst="ellipse">
            <a:avLst/>
          </a:pr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sp>
        <p:nvSpPr>
          <p:cNvPr id="63" name="Freeform 14">
            <a:extLst>
              <a:ext uri="{FF2B5EF4-FFF2-40B4-BE49-F238E27FC236}">
                <a16:creationId xmlns:a16="http://schemas.microsoft.com/office/drawing/2014/main" id="{4B5FF44E-F79F-4F7E-A6CA-8656F3F1B2CD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851081" y="2471952"/>
            <a:ext cx="432000" cy="432000"/>
          </a:xfrm>
          <a:prstGeom prst="ellipse">
            <a:avLst/>
          </a:pr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sp>
        <p:nvSpPr>
          <p:cNvPr id="64" name="Freeform 14">
            <a:extLst>
              <a:ext uri="{FF2B5EF4-FFF2-40B4-BE49-F238E27FC236}">
                <a16:creationId xmlns:a16="http://schemas.microsoft.com/office/drawing/2014/main" id="{142BE10D-0161-46BB-936E-8004A97C7F29}"/>
              </a:ext>
            </a:extLst>
          </p:cNvPr>
          <p:cNvSpPr>
            <a:spLocks noEditPoints="1"/>
          </p:cNvSpPr>
          <p:nvPr/>
        </p:nvSpPr>
        <p:spPr bwMode="auto">
          <a:xfrm flipH="1">
            <a:off x="3851081" y="3238071"/>
            <a:ext cx="432000" cy="432000"/>
          </a:xfrm>
          <a:prstGeom prst="ellipse">
            <a:avLst/>
          </a:prstGeom>
          <a:solidFill>
            <a:srgbClr val="FFC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yriad Pro" panose="020B0503030403020204"/>
              <a:ea typeface="+mn-ea"/>
              <a:cs typeface="+mn-cs"/>
            </a:endParaRPr>
          </a:p>
        </p:txBody>
      </p:sp>
      <p:sp>
        <p:nvSpPr>
          <p:cNvPr id="67" name="Фигура">
            <a:extLst>
              <a:ext uri="{FF2B5EF4-FFF2-40B4-BE49-F238E27FC236}">
                <a16:creationId xmlns:a16="http://schemas.microsoft.com/office/drawing/2014/main" id="{F0B73CDB-62BA-4E0C-A4EB-58AA254752B6}"/>
              </a:ext>
            </a:extLst>
          </p:cNvPr>
          <p:cNvSpPr/>
          <p:nvPr/>
        </p:nvSpPr>
        <p:spPr>
          <a:xfrm rot="5400000">
            <a:off x="3442966" y="2364023"/>
            <a:ext cx="1248410" cy="64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07" extrusionOk="0">
                <a:moveTo>
                  <a:pt x="152" y="0"/>
                </a:moveTo>
                <a:cubicBezTo>
                  <a:pt x="68" y="0"/>
                  <a:pt x="0" y="128"/>
                  <a:pt x="0" y="287"/>
                </a:cubicBezTo>
                <a:cubicBezTo>
                  <a:pt x="0" y="445"/>
                  <a:pt x="68" y="574"/>
                  <a:pt x="152" y="574"/>
                </a:cubicBezTo>
                <a:lnTo>
                  <a:pt x="9063" y="574"/>
                </a:lnTo>
                <a:cubicBezTo>
                  <a:pt x="8274" y="1080"/>
                  <a:pt x="7530" y="1916"/>
                  <a:pt x="6901" y="3106"/>
                </a:cubicBezTo>
                <a:cubicBezTo>
                  <a:pt x="4712" y="7248"/>
                  <a:pt x="4712" y="13961"/>
                  <a:pt x="6901" y="18103"/>
                </a:cubicBezTo>
                <a:cubicBezTo>
                  <a:pt x="7981" y="20146"/>
                  <a:pt x="9391" y="21175"/>
                  <a:pt x="10806" y="21203"/>
                </a:cubicBezTo>
                <a:cubicBezTo>
                  <a:pt x="10809" y="21203"/>
                  <a:pt x="10812" y="21207"/>
                  <a:pt x="10815" y="21207"/>
                </a:cubicBezTo>
                <a:lnTo>
                  <a:pt x="10842" y="21207"/>
                </a:lnTo>
                <a:cubicBezTo>
                  <a:pt x="10857" y="21207"/>
                  <a:pt x="10872" y="21207"/>
                  <a:pt x="10887" y="21207"/>
                </a:cubicBezTo>
                <a:lnTo>
                  <a:pt x="21448" y="21207"/>
                </a:lnTo>
                <a:cubicBezTo>
                  <a:pt x="21532" y="21207"/>
                  <a:pt x="21600" y="21079"/>
                  <a:pt x="21600" y="20920"/>
                </a:cubicBezTo>
                <a:cubicBezTo>
                  <a:pt x="21600" y="20762"/>
                  <a:pt x="21532" y="20633"/>
                  <a:pt x="21448" y="20633"/>
                </a:cubicBezTo>
                <a:lnTo>
                  <a:pt x="12669" y="20633"/>
                </a:lnTo>
                <a:cubicBezTo>
                  <a:pt x="13458" y="20127"/>
                  <a:pt x="14199" y="19292"/>
                  <a:pt x="14828" y="18103"/>
                </a:cubicBezTo>
                <a:cubicBezTo>
                  <a:pt x="17017" y="13961"/>
                  <a:pt x="17017" y="7248"/>
                  <a:pt x="14828" y="3106"/>
                </a:cubicBezTo>
                <a:cubicBezTo>
                  <a:pt x="13733" y="1035"/>
                  <a:pt x="12299" y="0"/>
                  <a:pt x="10864" y="0"/>
                </a:cubicBezTo>
                <a:cubicBezTo>
                  <a:pt x="10843" y="0"/>
                  <a:pt x="10822" y="6"/>
                  <a:pt x="10800" y="6"/>
                </a:cubicBezTo>
                <a:cubicBezTo>
                  <a:pt x="10795" y="5"/>
                  <a:pt x="10790" y="0"/>
                  <a:pt x="10785" y="0"/>
                </a:cubicBezTo>
                <a:lnTo>
                  <a:pt x="152" y="0"/>
                </a:lnTo>
                <a:close/>
                <a:moveTo>
                  <a:pt x="10864" y="588"/>
                </a:moveTo>
                <a:cubicBezTo>
                  <a:pt x="12219" y="588"/>
                  <a:pt x="13574" y="1565"/>
                  <a:pt x="14607" y="3521"/>
                </a:cubicBezTo>
                <a:cubicBezTo>
                  <a:pt x="16675" y="7433"/>
                  <a:pt x="16675" y="13776"/>
                  <a:pt x="14607" y="17688"/>
                </a:cubicBezTo>
                <a:cubicBezTo>
                  <a:pt x="12540" y="21600"/>
                  <a:pt x="9189" y="21600"/>
                  <a:pt x="7122" y="17688"/>
                </a:cubicBezTo>
                <a:cubicBezTo>
                  <a:pt x="5054" y="13776"/>
                  <a:pt x="5054" y="7433"/>
                  <a:pt x="7122" y="3521"/>
                </a:cubicBezTo>
                <a:cubicBezTo>
                  <a:pt x="8155" y="1565"/>
                  <a:pt x="9510" y="588"/>
                  <a:pt x="10864" y="588"/>
                </a:cubicBezTo>
                <a:close/>
              </a:path>
            </a:pathLst>
          </a:custGeom>
          <a:noFill/>
          <a:ln w="12700">
            <a:solidFill>
              <a:srgbClr val="F36523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68" name="Фигура">
            <a:extLst>
              <a:ext uri="{FF2B5EF4-FFF2-40B4-BE49-F238E27FC236}">
                <a16:creationId xmlns:a16="http://schemas.microsoft.com/office/drawing/2014/main" id="{A48F9974-3030-4206-9085-4B33284E68C0}"/>
              </a:ext>
            </a:extLst>
          </p:cNvPr>
          <p:cNvSpPr/>
          <p:nvPr/>
        </p:nvSpPr>
        <p:spPr>
          <a:xfrm rot="5400000">
            <a:off x="3594959" y="1753889"/>
            <a:ext cx="944423" cy="64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900" h="21207" extrusionOk="0">
                <a:moveTo>
                  <a:pt x="7106" y="0"/>
                </a:moveTo>
                <a:cubicBezTo>
                  <a:pt x="7098" y="0"/>
                  <a:pt x="7092" y="5"/>
                  <a:pt x="7085" y="6"/>
                </a:cubicBezTo>
                <a:cubicBezTo>
                  <a:pt x="5278" y="37"/>
                  <a:pt x="3478" y="1067"/>
                  <a:pt x="2100" y="3106"/>
                </a:cubicBezTo>
                <a:cubicBezTo>
                  <a:pt x="-700" y="7248"/>
                  <a:pt x="-700" y="13961"/>
                  <a:pt x="2100" y="18103"/>
                </a:cubicBezTo>
                <a:cubicBezTo>
                  <a:pt x="3480" y="20146"/>
                  <a:pt x="5285" y="21175"/>
                  <a:pt x="7095" y="21203"/>
                </a:cubicBezTo>
                <a:cubicBezTo>
                  <a:pt x="7098" y="21203"/>
                  <a:pt x="7102" y="21207"/>
                  <a:pt x="7106" y="21207"/>
                </a:cubicBezTo>
                <a:lnTo>
                  <a:pt x="7140" y="21207"/>
                </a:lnTo>
                <a:cubicBezTo>
                  <a:pt x="7159" y="21207"/>
                  <a:pt x="7178" y="21207"/>
                  <a:pt x="7198" y="21207"/>
                </a:cubicBezTo>
                <a:lnTo>
                  <a:pt x="20706" y="21207"/>
                </a:lnTo>
                <a:cubicBezTo>
                  <a:pt x="20813" y="21207"/>
                  <a:pt x="20900" y="21079"/>
                  <a:pt x="20900" y="20920"/>
                </a:cubicBezTo>
                <a:cubicBezTo>
                  <a:pt x="20900" y="20762"/>
                  <a:pt x="20813" y="20633"/>
                  <a:pt x="20706" y="20633"/>
                </a:cubicBezTo>
                <a:lnTo>
                  <a:pt x="9477" y="20633"/>
                </a:lnTo>
                <a:cubicBezTo>
                  <a:pt x="10485" y="20127"/>
                  <a:pt x="11434" y="19292"/>
                  <a:pt x="12238" y="18103"/>
                </a:cubicBezTo>
                <a:cubicBezTo>
                  <a:pt x="15038" y="13961"/>
                  <a:pt x="15038" y="7248"/>
                  <a:pt x="12238" y="3106"/>
                </a:cubicBezTo>
                <a:cubicBezTo>
                  <a:pt x="11433" y="1915"/>
                  <a:pt x="10483" y="1080"/>
                  <a:pt x="9473" y="574"/>
                </a:cubicBezTo>
                <a:lnTo>
                  <a:pt x="11927" y="574"/>
                </a:lnTo>
                <a:cubicBezTo>
                  <a:pt x="12035" y="574"/>
                  <a:pt x="12121" y="445"/>
                  <a:pt x="12121" y="287"/>
                </a:cubicBezTo>
                <a:cubicBezTo>
                  <a:pt x="12121" y="128"/>
                  <a:pt x="12035" y="0"/>
                  <a:pt x="11927" y="0"/>
                </a:cubicBezTo>
                <a:lnTo>
                  <a:pt x="7169" y="0"/>
                </a:lnTo>
                <a:lnTo>
                  <a:pt x="7106" y="0"/>
                </a:lnTo>
                <a:close/>
                <a:moveTo>
                  <a:pt x="7169" y="588"/>
                </a:moveTo>
                <a:cubicBezTo>
                  <a:pt x="8902" y="588"/>
                  <a:pt x="10634" y="1565"/>
                  <a:pt x="11956" y="3521"/>
                </a:cubicBezTo>
                <a:cubicBezTo>
                  <a:pt x="14600" y="7433"/>
                  <a:pt x="14600" y="13776"/>
                  <a:pt x="11956" y="17688"/>
                </a:cubicBezTo>
                <a:cubicBezTo>
                  <a:pt x="9312" y="21600"/>
                  <a:pt x="5026" y="21600"/>
                  <a:pt x="2381" y="17688"/>
                </a:cubicBezTo>
                <a:cubicBezTo>
                  <a:pt x="-263" y="13776"/>
                  <a:pt x="-263" y="7433"/>
                  <a:pt x="2381" y="3521"/>
                </a:cubicBezTo>
                <a:cubicBezTo>
                  <a:pt x="3703" y="1565"/>
                  <a:pt x="5436" y="588"/>
                  <a:pt x="7169" y="588"/>
                </a:cubicBezTo>
                <a:close/>
              </a:path>
            </a:pathLst>
          </a:custGeom>
          <a:noFill/>
          <a:ln w="12700">
            <a:solidFill>
              <a:srgbClr val="F36523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0" name="Фигура">
            <a:extLst>
              <a:ext uri="{FF2B5EF4-FFF2-40B4-BE49-F238E27FC236}">
                <a16:creationId xmlns:a16="http://schemas.microsoft.com/office/drawing/2014/main" id="{57CF1716-C03F-446D-B4B5-D4B4CB336F73}"/>
              </a:ext>
            </a:extLst>
          </p:cNvPr>
          <p:cNvSpPr/>
          <p:nvPr/>
        </p:nvSpPr>
        <p:spPr>
          <a:xfrm rot="5400000">
            <a:off x="3552095" y="3017334"/>
            <a:ext cx="1030153" cy="64775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207" extrusionOk="0">
                <a:moveTo>
                  <a:pt x="184" y="0"/>
                </a:moveTo>
                <a:cubicBezTo>
                  <a:pt x="82" y="0"/>
                  <a:pt x="0" y="128"/>
                  <a:pt x="0" y="287"/>
                </a:cubicBezTo>
                <a:cubicBezTo>
                  <a:pt x="0" y="445"/>
                  <a:pt x="82" y="574"/>
                  <a:pt x="184" y="574"/>
                </a:cubicBezTo>
                <a:lnTo>
                  <a:pt x="10983" y="574"/>
                </a:lnTo>
                <a:cubicBezTo>
                  <a:pt x="10027" y="1080"/>
                  <a:pt x="9126" y="1916"/>
                  <a:pt x="8363" y="3106"/>
                </a:cubicBezTo>
                <a:cubicBezTo>
                  <a:pt x="5711" y="7248"/>
                  <a:pt x="5711" y="13961"/>
                  <a:pt x="8363" y="18103"/>
                </a:cubicBezTo>
                <a:cubicBezTo>
                  <a:pt x="9672" y="20146"/>
                  <a:pt x="11381" y="21175"/>
                  <a:pt x="13096" y="21203"/>
                </a:cubicBezTo>
                <a:cubicBezTo>
                  <a:pt x="13100" y="21203"/>
                  <a:pt x="13103" y="21207"/>
                  <a:pt x="13106" y="21207"/>
                </a:cubicBezTo>
                <a:lnTo>
                  <a:pt x="13139" y="21207"/>
                </a:lnTo>
                <a:cubicBezTo>
                  <a:pt x="13157" y="21207"/>
                  <a:pt x="13175" y="21207"/>
                  <a:pt x="13194" y="21207"/>
                </a:cubicBezTo>
                <a:lnTo>
                  <a:pt x="21416" y="21207"/>
                </a:lnTo>
                <a:cubicBezTo>
                  <a:pt x="21518" y="21207"/>
                  <a:pt x="21600" y="21079"/>
                  <a:pt x="21600" y="20920"/>
                </a:cubicBezTo>
                <a:cubicBezTo>
                  <a:pt x="21600" y="20762"/>
                  <a:pt x="21518" y="20633"/>
                  <a:pt x="21416" y="20633"/>
                </a:cubicBezTo>
                <a:lnTo>
                  <a:pt x="15354" y="20633"/>
                </a:lnTo>
                <a:cubicBezTo>
                  <a:pt x="16309" y="20127"/>
                  <a:pt x="17208" y="19292"/>
                  <a:pt x="17969" y="18103"/>
                </a:cubicBezTo>
                <a:cubicBezTo>
                  <a:pt x="20622" y="13961"/>
                  <a:pt x="20622" y="7248"/>
                  <a:pt x="17969" y="3106"/>
                </a:cubicBezTo>
                <a:cubicBezTo>
                  <a:pt x="16643" y="1035"/>
                  <a:pt x="14905" y="0"/>
                  <a:pt x="13166" y="0"/>
                </a:cubicBezTo>
                <a:cubicBezTo>
                  <a:pt x="13140" y="0"/>
                  <a:pt x="13114" y="6"/>
                  <a:pt x="13088" y="6"/>
                </a:cubicBezTo>
                <a:cubicBezTo>
                  <a:pt x="13082" y="5"/>
                  <a:pt x="13076" y="0"/>
                  <a:pt x="13070" y="0"/>
                </a:cubicBezTo>
                <a:lnTo>
                  <a:pt x="184" y="0"/>
                </a:lnTo>
                <a:close/>
                <a:moveTo>
                  <a:pt x="13166" y="588"/>
                </a:moveTo>
                <a:cubicBezTo>
                  <a:pt x="14808" y="588"/>
                  <a:pt x="16450" y="1565"/>
                  <a:pt x="17702" y="3521"/>
                </a:cubicBezTo>
                <a:cubicBezTo>
                  <a:pt x="20208" y="7433"/>
                  <a:pt x="20208" y="13776"/>
                  <a:pt x="17702" y="17688"/>
                </a:cubicBezTo>
                <a:cubicBezTo>
                  <a:pt x="15197" y="21600"/>
                  <a:pt x="11136" y="21600"/>
                  <a:pt x="8630" y="17688"/>
                </a:cubicBezTo>
                <a:cubicBezTo>
                  <a:pt x="6125" y="13776"/>
                  <a:pt x="6125" y="7433"/>
                  <a:pt x="8630" y="3521"/>
                </a:cubicBezTo>
                <a:cubicBezTo>
                  <a:pt x="9883" y="1565"/>
                  <a:pt x="11525" y="588"/>
                  <a:pt x="13166" y="588"/>
                </a:cubicBezTo>
                <a:close/>
              </a:path>
            </a:pathLst>
          </a:custGeom>
          <a:noFill/>
          <a:ln w="12700">
            <a:solidFill>
              <a:srgbClr val="F36523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2" name="Фигура">
            <a:extLst>
              <a:ext uri="{FF2B5EF4-FFF2-40B4-BE49-F238E27FC236}">
                <a16:creationId xmlns:a16="http://schemas.microsoft.com/office/drawing/2014/main" id="{687818F2-FF4A-4589-A34A-5073223BAAD9}"/>
              </a:ext>
            </a:extLst>
          </p:cNvPr>
          <p:cNvSpPr/>
          <p:nvPr/>
        </p:nvSpPr>
        <p:spPr>
          <a:xfrm rot="5400000">
            <a:off x="3792229" y="2416864"/>
            <a:ext cx="549706" cy="54964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95" h="20594" extrusionOk="0">
                <a:moveTo>
                  <a:pt x="10407" y="0"/>
                </a:moveTo>
                <a:lnTo>
                  <a:pt x="10407" y="638"/>
                </a:lnTo>
                <a:cubicBezTo>
                  <a:pt x="12842" y="666"/>
                  <a:pt x="15269" y="1606"/>
                  <a:pt x="17127" y="3464"/>
                </a:cubicBezTo>
                <a:cubicBezTo>
                  <a:pt x="20899" y="7237"/>
                  <a:pt x="20899" y="13353"/>
                  <a:pt x="17127" y="17126"/>
                </a:cubicBezTo>
                <a:cubicBezTo>
                  <a:pt x="13354" y="20899"/>
                  <a:pt x="7236" y="20899"/>
                  <a:pt x="3464" y="17126"/>
                </a:cubicBezTo>
                <a:cubicBezTo>
                  <a:pt x="1590" y="15253"/>
                  <a:pt x="648" y="12803"/>
                  <a:pt x="635" y="10347"/>
                </a:cubicBezTo>
                <a:lnTo>
                  <a:pt x="0" y="10347"/>
                </a:lnTo>
                <a:cubicBezTo>
                  <a:pt x="13" y="12966"/>
                  <a:pt x="1016" y="15580"/>
                  <a:pt x="3014" y="17578"/>
                </a:cubicBezTo>
                <a:cubicBezTo>
                  <a:pt x="7036" y="21600"/>
                  <a:pt x="13556" y="21600"/>
                  <a:pt x="17578" y="17578"/>
                </a:cubicBezTo>
                <a:cubicBezTo>
                  <a:pt x="21600" y="13556"/>
                  <a:pt x="21600" y="7034"/>
                  <a:pt x="17578" y="3012"/>
                </a:cubicBezTo>
                <a:cubicBezTo>
                  <a:pt x="15596" y="1030"/>
                  <a:pt x="13005" y="28"/>
                  <a:pt x="10407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3" name="Фигура">
            <a:extLst>
              <a:ext uri="{FF2B5EF4-FFF2-40B4-BE49-F238E27FC236}">
                <a16:creationId xmlns:a16="http://schemas.microsoft.com/office/drawing/2014/main" id="{26B33D2A-4EAF-4EC7-8E8A-B12BA3D4560A}"/>
              </a:ext>
            </a:extLst>
          </p:cNvPr>
          <p:cNvSpPr/>
          <p:nvPr/>
        </p:nvSpPr>
        <p:spPr>
          <a:xfrm rot="5400000">
            <a:off x="3792365" y="1654696"/>
            <a:ext cx="549709" cy="549619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82" h="21559" extrusionOk="0">
                <a:moveTo>
                  <a:pt x="10291" y="0"/>
                </a:moveTo>
                <a:cubicBezTo>
                  <a:pt x="7657" y="0"/>
                  <a:pt x="5024" y="1053"/>
                  <a:pt x="3014" y="3158"/>
                </a:cubicBezTo>
                <a:cubicBezTo>
                  <a:pt x="-1005" y="7369"/>
                  <a:pt x="-1005" y="14196"/>
                  <a:pt x="3014" y="18407"/>
                </a:cubicBezTo>
                <a:cubicBezTo>
                  <a:pt x="5063" y="20554"/>
                  <a:pt x="7762" y="21600"/>
                  <a:pt x="10447" y="21558"/>
                </a:cubicBezTo>
                <a:lnTo>
                  <a:pt x="10447" y="20890"/>
                </a:lnTo>
                <a:cubicBezTo>
                  <a:pt x="7924" y="20933"/>
                  <a:pt x="5388" y="19951"/>
                  <a:pt x="3463" y="17934"/>
                </a:cubicBezTo>
                <a:cubicBezTo>
                  <a:pt x="-307" y="13984"/>
                  <a:pt x="-307" y="7581"/>
                  <a:pt x="3463" y="3631"/>
                </a:cubicBezTo>
                <a:cubicBezTo>
                  <a:pt x="5348" y="1656"/>
                  <a:pt x="7820" y="668"/>
                  <a:pt x="10291" y="668"/>
                </a:cubicBezTo>
                <a:cubicBezTo>
                  <a:pt x="12762" y="668"/>
                  <a:pt x="15233" y="1656"/>
                  <a:pt x="17118" y="3631"/>
                </a:cubicBezTo>
                <a:cubicBezTo>
                  <a:pt x="19016" y="5620"/>
                  <a:pt x="19958" y="8231"/>
                  <a:pt x="19944" y="10838"/>
                </a:cubicBezTo>
                <a:lnTo>
                  <a:pt x="20582" y="10838"/>
                </a:lnTo>
                <a:cubicBezTo>
                  <a:pt x="20595" y="8060"/>
                  <a:pt x="19592" y="5278"/>
                  <a:pt x="17569" y="3158"/>
                </a:cubicBezTo>
                <a:cubicBezTo>
                  <a:pt x="15560" y="1053"/>
                  <a:pt x="12925" y="0"/>
                  <a:pt x="10291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4" name="Фигура">
            <a:extLst>
              <a:ext uri="{FF2B5EF4-FFF2-40B4-BE49-F238E27FC236}">
                <a16:creationId xmlns:a16="http://schemas.microsoft.com/office/drawing/2014/main" id="{6C61F60A-DDE3-4DBF-A175-4FFBE39A47D9}"/>
              </a:ext>
            </a:extLst>
          </p:cNvPr>
          <p:cNvSpPr/>
          <p:nvPr/>
        </p:nvSpPr>
        <p:spPr>
          <a:xfrm rot="5400000">
            <a:off x="3792291" y="3179187"/>
            <a:ext cx="549706" cy="54976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0595" h="20595" extrusionOk="0">
                <a:moveTo>
                  <a:pt x="10298" y="0"/>
                </a:moveTo>
                <a:cubicBezTo>
                  <a:pt x="7662" y="0"/>
                  <a:pt x="5028" y="1006"/>
                  <a:pt x="3017" y="3016"/>
                </a:cubicBezTo>
                <a:cubicBezTo>
                  <a:pt x="-1005" y="7038"/>
                  <a:pt x="-1005" y="13557"/>
                  <a:pt x="3017" y="17579"/>
                </a:cubicBezTo>
                <a:cubicBezTo>
                  <a:pt x="7039" y="21600"/>
                  <a:pt x="13559" y="21600"/>
                  <a:pt x="17581" y="17579"/>
                </a:cubicBezTo>
                <a:cubicBezTo>
                  <a:pt x="19579" y="15581"/>
                  <a:pt x="20582" y="12968"/>
                  <a:pt x="20595" y="10350"/>
                </a:cubicBezTo>
                <a:lnTo>
                  <a:pt x="19957" y="10350"/>
                </a:lnTo>
                <a:cubicBezTo>
                  <a:pt x="19944" y="12804"/>
                  <a:pt x="19002" y="15254"/>
                  <a:pt x="17129" y="17127"/>
                </a:cubicBezTo>
                <a:cubicBezTo>
                  <a:pt x="13357" y="20899"/>
                  <a:pt x="7239" y="20899"/>
                  <a:pt x="3466" y="17127"/>
                </a:cubicBezTo>
                <a:cubicBezTo>
                  <a:pt x="-307" y="13355"/>
                  <a:pt x="-307" y="7240"/>
                  <a:pt x="3466" y="3468"/>
                </a:cubicBezTo>
                <a:cubicBezTo>
                  <a:pt x="5352" y="1582"/>
                  <a:pt x="7825" y="638"/>
                  <a:pt x="10298" y="638"/>
                </a:cubicBezTo>
                <a:cubicBezTo>
                  <a:pt x="10304" y="638"/>
                  <a:pt x="10310" y="638"/>
                  <a:pt x="10316" y="638"/>
                </a:cubicBezTo>
                <a:lnTo>
                  <a:pt x="10316" y="0"/>
                </a:lnTo>
                <a:cubicBezTo>
                  <a:pt x="10310" y="0"/>
                  <a:pt x="10304" y="0"/>
                  <a:pt x="10298" y="0"/>
                </a:cubicBezTo>
                <a:close/>
              </a:path>
            </a:pathLst>
          </a:custGeom>
          <a:solidFill>
            <a:schemeClr val="bg2"/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 Medium"/>
            </a:endParaRPr>
          </a:p>
        </p:txBody>
      </p:sp>
      <p:sp>
        <p:nvSpPr>
          <p:cNvPr id="75" name="Inhaltsplatzhalter 4">
            <a:extLst>
              <a:ext uri="{FF2B5EF4-FFF2-40B4-BE49-F238E27FC236}">
                <a16:creationId xmlns:a16="http://schemas.microsoft.com/office/drawing/2014/main" id="{452FD894-0029-41D8-AFD1-E51E07B3B2DA}"/>
              </a:ext>
            </a:extLst>
          </p:cNvPr>
          <p:cNvSpPr txBox="1">
            <a:spLocks/>
          </p:cNvSpPr>
          <p:nvPr/>
        </p:nvSpPr>
        <p:spPr>
          <a:xfrm flipH="1">
            <a:off x="1398796" y="1909130"/>
            <a:ext cx="2180498" cy="3795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595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STUDENT-CENTERED</a:t>
            </a:r>
          </a:p>
          <a:p>
            <a:pPr marL="204725" marR="0" lvl="0" indent="-204725" algn="l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76" name="Inhaltsplatzhalter 4">
            <a:extLst>
              <a:ext uri="{FF2B5EF4-FFF2-40B4-BE49-F238E27FC236}">
                <a16:creationId xmlns:a16="http://schemas.microsoft.com/office/drawing/2014/main" id="{74C22280-5DDD-4DB9-89B3-DF66E107D04D}"/>
              </a:ext>
            </a:extLst>
          </p:cNvPr>
          <p:cNvSpPr txBox="1">
            <a:spLocks/>
          </p:cNvSpPr>
          <p:nvPr/>
        </p:nvSpPr>
        <p:spPr>
          <a:xfrm flipH="1">
            <a:off x="1348683" y="2634985"/>
            <a:ext cx="2172061" cy="3795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595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INTERNATIONALIZATION</a:t>
            </a:r>
          </a:p>
          <a:p>
            <a:pPr marL="204725" marR="0" lvl="0" indent="-204725" algn="l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§"/>
              <a:tabLst/>
              <a:defRPr/>
            </a:pPr>
            <a:endParaRPr kumimoji="0" lang="en-IE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sp>
        <p:nvSpPr>
          <p:cNvPr id="78" name="Inhaltsplatzhalter 4">
            <a:extLst>
              <a:ext uri="{FF2B5EF4-FFF2-40B4-BE49-F238E27FC236}">
                <a16:creationId xmlns:a16="http://schemas.microsoft.com/office/drawing/2014/main" id="{B4A0FA0C-4857-4D36-82B5-2CD2E0C8BCE4}"/>
              </a:ext>
            </a:extLst>
          </p:cNvPr>
          <p:cNvSpPr txBox="1">
            <a:spLocks/>
          </p:cNvSpPr>
          <p:nvPr/>
        </p:nvSpPr>
        <p:spPr>
          <a:xfrm flipH="1">
            <a:off x="1342656" y="3358198"/>
            <a:ext cx="2172060" cy="3795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72967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Char char="§"/>
              <a:defRPr sz="23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1pPr>
            <a:lvl2pPr marL="807798" indent="-272967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20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2pPr>
            <a:lvl3pPr marL="1080764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9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3pPr>
            <a:lvl4pPr marL="1436256" indent="-177748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4pPr>
            <a:lvl5pPr marL="1793335" indent="-179335" algn="l" defTabSz="91412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Calibri Light" panose="020F0302020204030204" pitchFamily="34" charset="0"/>
                <a:ea typeface="+mn-ea"/>
                <a:cs typeface="+mn-cs"/>
              </a:defRPr>
            </a:lvl5pPr>
            <a:lvl6pPr marL="2513847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0910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7972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034" indent="-228532" algn="l" defTabSz="91412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595" rtl="0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75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36523"/>
                </a:solidFill>
                <a:effectLst/>
                <a:uLnTx/>
                <a:uFillTx/>
                <a:latin typeface="Myriad Pro"/>
                <a:ea typeface="+mn-ea"/>
                <a:cs typeface="+mn-cs"/>
              </a:rPr>
              <a:t>DIGITALIZATION</a:t>
            </a:r>
          </a:p>
          <a:p>
            <a:pPr marL="0" marR="0" lvl="0" indent="0" algn="l" defTabSz="68559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Myriad Pro"/>
              <a:ea typeface="+mn-ea"/>
              <a:cs typeface="+mn-cs"/>
            </a:endParaRPr>
          </a:p>
        </p:txBody>
      </p:sp>
      <p:pic>
        <p:nvPicPr>
          <p:cNvPr id="3" name="Graphic 2" descr="Target Audience">
            <a:extLst>
              <a:ext uri="{FF2B5EF4-FFF2-40B4-BE49-F238E27FC236}">
                <a16:creationId xmlns:a16="http://schemas.microsoft.com/office/drawing/2014/main" id="{8ECAF8DF-D61E-431E-9D50-6D32AA2601C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91452" y="1760231"/>
            <a:ext cx="360978" cy="360978"/>
          </a:xfrm>
          <a:prstGeom prst="rect">
            <a:avLst/>
          </a:prstGeom>
        </p:spPr>
      </p:pic>
      <p:pic>
        <p:nvPicPr>
          <p:cNvPr id="5" name="Graphic 4" descr="Earth globe Africa and Europe">
            <a:extLst>
              <a:ext uri="{FF2B5EF4-FFF2-40B4-BE49-F238E27FC236}">
                <a16:creationId xmlns:a16="http://schemas.microsoft.com/office/drawing/2014/main" id="{1244523D-B83F-4DC2-8A7C-C7BD584B34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880417" y="2513374"/>
            <a:ext cx="384398" cy="384398"/>
          </a:xfrm>
          <a:prstGeom prst="rect">
            <a:avLst/>
          </a:prstGeom>
        </p:spPr>
      </p:pic>
      <p:pic>
        <p:nvPicPr>
          <p:cNvPr id="7" name="Graphic 6" descr="Internet">
            <a:extLst>
              <a:ext uri="{FF2B5EF4-FFF2-40B4-BE49-F238E27FC236}">
                <a16:creationId xmlns:a16="http://schemas.microsoft.com/office/drawing/2014/main" id="{9F971F2F-36AD-486B-82E4-08965465949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20228" y="3310446"/>
            <a:ext cx="303425" cy="303425"/>
          </a:xfrm>
          <a:prstGeom prst="rect">
            <a:avLst/>
          </a:prstGeom>
        </p:spPr>
      </p:pic>
      <p:pic>
        <p:nvPicPr>
          <p:cNvPr id="32" name="Graphic 14">
            <a:extLst>
              <a:ext uri="{FF2B5EF4-FFF2-40B4-BE49-F238E27FC236}">
                <a16:creationId xmlns:a16="http://schemas.microsoft.com/office/drawing/2014/main" id="{F313D7B0-284E-4503-9BF4-1EB6DC97F4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2" b="1532"/>
          <a:stretch/>
        </p:blipFill>
        <p:spPr bwMode="auto">
          <a:xfrm>
            <a:off x="4174419" y="-22857"/>
            <a:ext cx="2604237" cy="2362334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3" name="Graphic 14">
            <a:extLst>
              <a:ext uri="{FF2B5EF4-FFF2-40B4-BE49-F238E27FC236}">
                <a16:creationId xmlns:a16="http://schemas.microsoft.com/office/drawing/2014/main" id="{8A96DCD3-A57D-46A3-8809-F262B78A6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64893" y="1032141"/>
            <a:ext cx="2591819" cy="2365290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4" name="Graphic 14">
            <a:extLst>
              <a:ext uri="{FF2B5EF4-FFF2-40B4-BE49-F238E27FC236}">
                <a16:creationId xmlns:a16="http://schemas.microsoft.com/office/drawing/2014/main" id="{A3ACED82-2452-4C40-A57F-92268497CD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28980" y="2589596"/>
            <a:ext cx="2706286" cy="2556036"/>
          </a:xfrm>
          <a:prstGeom prst="ellipse">
            <a:avLst/>
          </a:prstGeom>
          <a:ln w="38100" cap="sq">
            <a:noFill/>
            <a:prstDash val="solid"/>
            <a:miter lim="800000"/>
          </a:ln>
          <a:effectLst/>
        </p:spPr>
      </p:pic>
      <p:pic>
        <p:nvPicPr>
          <p:cNvPr id="35" name="Graphic 7">
            <a:extLst>
              <a:ext uri="{FF2B5EF4-FFF2-40B4-BE49-F238E27FC236}">
                <a16:creationId xmlns:a16="http://schemas.microsoft.com/office/drawing/2014/main" id="{C78FF98A-B20A-4765-8DF6-45935D44F2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05840" y="1987816"/>
            <a:ext cx="243306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Graphic 7">
            <a:extLst>
              <a:ext uri="{FF2B5EF4-FFF2-40B4-BE49-F238E27FC236}">
                <a16:creationId xmlns:a16="http://schemas.microsoft.com/office/drawing/2014/main" id="{7D62F8DD-4226-48F1-9345-4CDCD5C62B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55289" y="2897524"/>
            <a:ext cx="243306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Graphic 7">
            <a:extLst>
              <a:ext uri="{FF2B5EF4-FFF2-40B4-BE49-F238E27FC236}">
                <a16:creationId xmlns:a16="http://schemas.microsoft.com/office/drawing/2014/main" id="{6A7915BE-7347-4511-886E-B2DE8C9CD7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7257" y="4766966"/>
            <a:ext cx="2433062" cy="320168"/>
          </a:xfrm>
          <a:prstGeom prst="rect">
            <a:avLst/>
          </a:prstGeom>
          <a:noFill/>
          <a:ln>
            <a:noFill/>
          </a:ln>
          <a:effectLst>
            <a:outerShdw dist="50800" sx="1000" sy="1000" algn="ctr" rotWithShape="0">
              <a:srgbClr val="F7A31A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05C49061-0B12-46D2-8FC1-976FF1326A71}"/>
              </a:ext>
            </a:extLst>
          </p:cNvPr>
          <p:cNvSpPr txBox="1"/>
          <p:nvPr/>
        </p:nvSpPr>
        <p:spPr>
          <a:xfrm>
            <a:off x="4891150" y="2030635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Situated in the park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A49D715-DDAA-4828-9A42-2C2756D9367F}"/>
              </a:ext>
            </a:extLst>
          </p:cNvPr>
          <p:cNvSpPr txBox="1"/>
          <p:nvPr/>
        </p:nvSpPr>
        <p:spPr>
          <a:xfrm>
            <a:off x="7234939" y="2925226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Devoted for sports activities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B8F417D-EFBE-4E7F-BA8F-478DD1763048}"/>
              </a:ext>
            </a:extLst>
          </p:cNvPr>
          <p:cNvSpPr txBox="1"/>
          <p:nvPr/>
        </p:nvSpPr>
        <p:spPr>
          <a:xfrm>
            <a:off x="5682123" y="4795025"/>
            <a:ext cx="24482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yriad Pro" panose="020B0503030403020204"/>
                <a:ea typeface="+mn-ea"/>
                <a:cs typeface="+mn-cs"/>
              </a:rPr>
              <a:t>Modern library</a:t>
            </a:r>
            <a:endParaRPr kumimoji="0" lang="lt-LT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image6.png">
            <a:extLst>
              <a:ext uri="{FF2B5EF4-FFF2-40B4-BE49-F238E27FC236}">
                <a16:creationId xmlns:a16="http://schemas.microsoft.com/office/drawing/2014/main" id="{4F2274EB-5308-B049-2AC1-0310AFD999F8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7429" y="4562643"/>
            <a:ext cx="952090" cy="3343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038413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repeatCount="indefinite" autoRev="1" fill="hold" grpId="0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6" dur="3000" fill="hold"/>
                                        <p:tgtEl>
                                          <p:spTgt spid="5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repeatCount="indefinite" autoRev="1" fill="hold" grpId="0" nodeType="withEffect">
                                  <p:stCondLst>
                                    <p:cond delay="5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8" dur="3000" fill="hold"/>
                                        <p:tgtEl>
                                          <p:spTgt spid="58"/>
                                        </p:tgtEl>
                                      </p:cBhvr>
                                      <p:by x="170000" y="17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repeatCount="indefinite" autoRev="1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Scale>
                                      <p:cBhvr>
                                        <p:cTn id="10" dur="3000" fill="hold"/>
                                        <p:tgtEl>
                                          <p:spTgt spid="6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2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1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2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8" presetClass="emph" presetSubtype="0" repeatCount="indefinite" fill="hold" grpId="1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37" dur="5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8" presetID="6" presetClass="entr" presetSubtype="3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40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3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8" presetClass="emph" presetSubtype="0" repeatCount="indefinite" fill="hold" grpId="1" nodeType="withEffect">
                                  <p:stCondLst>
                                    <p:cond delay="1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-21600000">
                                      <p:cBhvr>
                                        <p:cTn id="51" dur="5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2" presetID="6" presetClass="entr" presetSubtype="3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54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31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8" presetClass="emph" presetSubtype="0" repeatCount="indefinite" fill="hold" grpId="1" nodeType="withEffect">
                                  <p:stCondLst>
                                    <p:cond delay="200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Rot by="21600000">
                                      <p:cBhvr>
                                        <p:cTn id="65" dur="50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6" presetID="6" presetClass="entr" presetSubtype="3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68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4" dur="1000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75" dur="10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2" presetClass="entr" presetSubtype="2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1000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79" dur="10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2" presetClass="entr" presetSubtype="2" fill="hold" grpId="0" nodeType="withEffect">
                                  <p:stCondLst>
                                    <p:cond delay="21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2" dur="1000"/>
                                        <p:tgtEl>
                                          <p:spTgt spid="7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3" dur="10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6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47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 animBg="1"/>
      <p:bldP spid="57" grpId="0" animBg="1"/>
      <p:bldP spid="58" grpId="0" animBg="1"/>
      <p:bldP spid="60" grpId="0" animBg="1"/>
      <p:bldP spid="61" grpId="0" animBg="1"/>
      <p:bldP spid="62" grpId="0" animBg="1"/>
      <p:bldP spid="63" grpId="0" animBg="1"/>
      <p:bldP spid="64" grpId="0" animBg="1"/>
      <p:bldP spid="67" grpId="0" animBg="1"/>
      <p:bldP spid="68" grpId="0" animBg="1"/>
      <p:bldP spid="70" grpId="0" animBg="1"/>
      <p:bldP spid="72" grpId="0" animBg="1"/>
      <p:bldP spid="72" grpId="1" animBg="1"/>
      <p:bldP spid="73" grpId="0" animBg="1"/>
      <p:bldP spid="73" grpId="1" animBg="1"/>
      <p:bldP spid="74" grpId="0" animBg="1"/>
      <p:bldP spid="74" grpId="1" animBg="1"/>
      <p:bldP spid="75" grpId="0"/>
      <p:bldP spid="76" grpId="0"/>
      <p:bldP spid="78" grpId="0"/>
      <p:bldP spid="38" grpId="0"/>
      <p:bldP spid="39" grpId="0"/>
      <p:bldP spid="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FE1B0D3-6CF0-45B9-AD41-064A913ED54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856" y="0"/>
            <a:ext cx="7717134" cy="5143500"/>
          </a:xfrm>
          <a:prstGeom prst="rect">
            <a:avLst/>
          </a:prstGeom>
        </p:spPr>
      </p:pic>
      <p:sp>
        <p:nvSpPr>
          <p:cNvPr id="9" name="Овал 18"/>
          <p:cNvSpPr/>
          <p:nvPr/>
        </p:nvSpPr>
        <p:spPr>
          <a:xfrm>
            <a:off x="2099085" y="96579"/>
            <a:ext cx="4950595" cy="4950344"/>
          </a:xfrm>
          <a:prstGeom prst="ellipse">
            <a:avLst/>
          </a:prstGeom>
          <a:solidFill>
            <a:schemeClr val="bg1"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4" tIns="17137" rIns="34274" bIns="17137"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162" y="-11144"/>
            <a:ext cx="9143839" cy="5143500"/>
          </a:xfrm>
          <a:custGeom>
            <a:avLst/>
            <a:gdLst>
              <a:gd name="connsiteX0" fmla="*/ 12192001 w 24385158"/>
              <a:gd name="connsiteY0" fmla="*/ 264173 h 13717588"/>
              <a:gd name="connsiteX1" fmla="*/ 5597382 w 24385158"/>
              <a:gd name="connsiteY1" fmla="*/ 6858794 h 13717588"/>
              <a:gd name="connsiteX2" fmla="*/ 12192001 w 24385158"/>
              <a:gd name="connsiteY2" fmla="*/ 13453415 h 13717588"/>
              <a:gd name="connsiteX3" fmla="*/ 18786622 w 24385158"/>
              <a:gd name="connsiteY3" fmla="*/ 6858794 h 13717588"/>
              <a:gd name="connsiteX4" fmla="*/ 12192001 w 24385158"/>
              <a:gd name="connsiteY4" fmla="*/ 264173 h 13717588"/>
              <a:gd name="connsiteX5" fmla="*/ 0 w 24385158"/>
              <a:gd name="connsiteY5" fmla="*/ 0 h 13717588"/>
              <a:gd name="connsiteX6" fmla="*/ 24385158 w 24385158"/>
              <a:gd name="connsiteY6" fmla="*/ 0 h 13717588"/>
              <a:gd name="connsiteX7" fmla="*/ 24385158 w 24385158"/>
              <a:gd name="connsiteY7" fmla="*/ 13717588 h 13717588"/>
              <a:gd name="connsiteX8" fmla="*/ 0 w 24385158"/>
              <a:gd name="connsiteY8" fmla="*/ 13717588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385158" h="13717588">
                <a:moveTo>
                  <a:pt x="12192001" y="264173"/>
                </a:moveTo>
                <a:cubicBezTo>
                  <a:pt x="8549892" y="264173"/>
                  <a:pt x="5597382" y="3216685"/>
                  <a:pt x="5597382" y="6858794"/>
                </a:cubicBezTo>
                <a:cubicBezTo>
                  <a:pt x="5597382" y="10500903"/>
                  <a:pt x="8549892" y="13453415"/>
                  <a:pt x="12192001" y="13453415"/>
                </a:cubicBezTo>
                <a:cubicBezTo>
                  <a:pt x="15834110" y="13453415"/>
                  <a:pt x="18786622" y="10500903"/>
                  <a:pt x="18786622" y="6858794"/>
                </a:cubicBezTo>
                <a:cubicBezTo>
                  <a:pt x="18786622" y="3216685"/>
                  <a:pt x="15834110" y="264173"/>
                  <a:pt x="12192001" y="264173"/>
                </a:cubicBezTo>
                <a:close/>
                <a:moveTo>
                  <a:pt x="0" y="0"/>
                </a:moveTo>
                <a:lnTo>
                  <a:pt x="24385158" y="0"/>
                </a:lnTo>
                <a:lnTo>
                  <a:pt x="24385158" y="13717588"/>
                </a:lnTo>
                <a:lnTo>
                  <a:pt x="0" y="13717588"/>
                </a:lnTo>
                <a:close/>
              </a:path>
            </a:pathLst>
          </a:custGeom>
          <a:solidFill>
            <a:schemeClr val="accent5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4274" tIns="17137" rIns="34274" bIns="17137" rtlCol="0" anchor="ctr">
            <a:noAutofit/>
          </a:bodyPr>
          <a:lstStyle/>
          <a:p>
            <a:pPr algn="ctr" defTabSz="685800">
              <a:defRPr/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Полилиния 20"/>
          <p:cNvSpPr/>
          <p:nvPr/>
        </p:nvSpPr>
        <p:spPr>
          <a:xfrm>
            <a:off x="983439" y="0"/>
            <a:ext cx="7176535" cy="5143500"/>
          </a:xfrm>
          <a:custGeom>
            <a:avLst/>
            <a:gdLst>
              <a:gd name="connsiteX0" fmla="*/ 15254724 w 19138672"/>
              <a:gd name="connsiteY0" fmla="*/ 0 h 13717588"/>
              <a:gd name="connsiteX1" fmla="*/ 16238286 w 19138672"/>
              <a:gd name="connsiteY1" fmla="*/ 0 h 13717588"/>
              <a:gd name="connsiteX2" fmla="*/ 16335878 w 19138672"/>
              <a:gd name="connsiteY2" fmla="*/ 93046 h 13717588"/>
              <a:gd name="connsiteX3" fmla="*/ 19138672 w 19138672"/>
              <a:gd name="connsiteY3" fmla="*/ 6859588 h 13717588"/>
              <a:gd name="connsiteX4" fmla="*/ 16335880 w 19138672"/>
              <a:gd name="connsiteY4" fmla="*/ 13626131 h 13717588"/>
              <a:gd name="connsiteX5" fmla="*/ 16239952 w 19138672"/>
              <a:gd name="connsiteY5" fmla="*/ 13717588 h 13717588"/>
              <a:gd name="connsiteX6" fmla="*/ 15256558 w 19138672"/>
              <a:gd name="connsiteY6" fmla="*/ 13717588 h 13717588"/>
              <a:gd name="connsiteX7" fmla="*/ 15560026 w 19138672"/>
              <a:gd name="connsiteY7" fmla="*/ 13454718 h 13717588"/>
              <a:gd name="connsiteX8" fmla="*/ 18479048 w 19138672"/>
              <a:gd name="connsiteY8" fmla="*/ 6859588 h 13717588"/>
              <a:gd name="connsiteX9" fmla="*/ 15560024 w 19138672"/>
              <a:gd name="connsiteY9" fmla="*/ 264458 h 13717588"/>
              <a:gd name="connsiteX10" fmla="*/ 2900387 w 19138672"/>
              <a:gd name="connsiteY10" fmla="*/ 0 h 13717588"/>
              <a:gd name="connsiteX11" fmla="*/ 3883950 w 19138672"/>
              <a:gd name="connsiteY11" fmla="*/ 0 h 13717588"/>
              <a:gd name="connsiteX12" fmla="*/ 3578649 w 19138672"/>
              <a:gd name="connsiteY12" fmla="*/ 264458 h 13717588"/>
              <a:gd name="connsiteX13" fmla="*/ 659626 w 19138672"/>
              <a:gd name="connsiteY13" fmla="*/ 6859588 h 13717588"/>
              <a:gd name="connsiteX14" fmla="*/ 3578648 w 19138672"/>
              <a:gd name="connsiteY14" fmla="*/ 13454718 h 13717588"/>
              <a:gd name="connsiteX15" fmla="*/ 3882115 w 19138672"/>
              <a:gd name="connsiteY15" fmla="*/ 13717588 h 13717588"/>
              <a:gd name="connsiteX16" fmla="*/ 2898721 w 19138672"/>
              <a:gd name="connsiteY16" fmla="*/ 13717588 h 13717588"/>
              <a:gd name="connsiteX17" fmla="*/ 2802794 w 19138672"/>
              <a:gd name="connsiteY17" fmla="*/ 13626131 h 13717588"/>
              <a:gd name="connsiteX18" fmla="*/ 0 w 19138672"/>
              <a:gd name="connsiteY18" fmla="*/ 6859588 h 13717588"/>
              <a:gd name="connsiteX19" fmla="*/ 2802795 w 19138672"/>
              <a:gd name="connsiteY19" fmla="*/ 93046 h 13717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9138672" h="13717588">
                <a:moveTo>
                  <a:pt x="15254724" y="0"/>
                </a:moveTo>
                <a:lnTo>
                  <a:pt x="16238286" y="0"/>
                </a:lnTo>
                <a:lnTo>
                  <a:pt x="16335878" y="93046"/>
                </a:lnTo>
                <a:cubicBezTo>
                  <a:pt x="18067588" y="1824755"/>
                  <a:pt x="19138672" y="4217089"/>
                  <a:pt x="19138672" y="6859588"/>
                </a:cubicBezTo>
                <a:cubicBezTo>
                  <a:pt x="19138672" y="9502088"/>
                  <a:pt x="18067588" y="11894421"/>
                  <a:pt x="16335880" y="13626131"/>
                </a:cubicBezTo>
                <a:lnTo>
                  <a:pt x="16239952" y="13717588"/>
                </a:lnTo>
                <a:lnTo>
                  <a:pt x="15256558" y="13717588"/>
                </a:lnTo>
                <a:lnTo>
                  <a:pt x="15560026" y="13454718"/>
                </a:lnTo>
                <a:cubicBezTo>
                  <a:pt x="17353242" y="11824884"/>
                  <a:pt x="18479048" y="9473709"/>
                  <a:pt x="18479048" y="6859588"/>
                </a:cubicBezTo>
                <a:cubicBezTo>
                  <a:pt x="18479048" y="4245468"/>
                  <a:pt x="17353242" y="1894293"/>
                  <a:pt x="15560024" y="264458"/>
                </a:cubicBezTo>
                <a:close/>
                <a:moveTo>
                  <a:pt x="2900387" y="0"/>
                </a:moveTo>
                <a:lnTo>
                  <a:pt x="3883950" y="0"/>
                </a:lnTo>
                <a:lnTo>
                  <a:pt x="3578649" y="264458"/>
                </a:lnTo>
                <a:cubicBezTo>
                  <a:pt x="1785431" y="1894293"/>
                  <a:pt x="659626" y="4245468"/>
                  <a:pt x="659626" y="6859588"/>
                </a:cubicBezTo>
                <a:cubicBezTo>
                  <a:pt x="659626" y="9473709"/>
                  <a:pt x="1785431" y="11824884"/>
                  <a:pt x="3578648" y="13454718"/>
                </a:cubicBezTo>
                <a:lnTo>
                  <a:pt x="3882115" y="13717588"/>
                </a:lnTo>
                <a:lnTo>
                  <a:pt x="2898721" y="13717588"/>
                </a:lnTo>
                <a:lnTo>
                  <a:pt x="2802794" y="13626131"/>
                </a:lnTo>
                <a:cubicBezTo>
                  <a:pt x="1071085" y="11894421"/>
                  <a:pt x="0" y="9502088"/>
                  <a:pt x="0" y="6859588"/>
                </a:cubicBezTo>
                <a:cubicBezTo>
                  <a:pt x="0" y="4217089"/>
                  <a:pt x="1071085" y="1824755"/>
                  <a:pt x="2802795" y="93046"/>
                </a:cubicBezTo>
                <a:close/>
              </a:path>
            </a:pathLst>
          </a:custGeom>
          <a:gradFill flip="none" rotWithShape="1">
            <a:gsLst>
              <a:gs pos="44000">
                <a:schemeClr val="accent2"/>
              </a:gs>
              <a:gs pos="87000">
                <a:schemeClr val="bg2">
                  <a:alpha val="50000"/>
                </a:schemeClr>
              </a:gs>
              <a:gs pos="3000">
                <a:schemeClr val="bg2">
                  <a:alpha val="5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4" tIns="17137" rIns="34274" bIns="17137"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Овал 18"/>
          <p:cNvSpPr/>
          <p:nvPr/>
        </p:nvSpPr>
        <p:spPr>
          <a:xfrm>
            <a:off x="2269338" y="258355"/>
            <a:ext cx="4604735" cy="4604502"/>
          </a:xfrm>
          <a:prstGeom prst="ellipse">
            <a:avLst/>
          </a:prstGeom>
          <a:gradFill>
            <a:gsLst>
              <a:gs pos="96000">
                <a:srgbClr val="FFC000"/>
              </a:gs>
              <a:gs pos="37000">
                <a:srgbClr val="F63F19"/>
              </a:gs>
              <a:gs pos="1000">
                <a:srgbClr val="C00000"/>
              </a:gs>
              <a:gs pos="20000">
                <a:srgbClr val="ED7D31"/>
              </a:gs>
              <a:gs pos="72000">
                <a:srgbClr val="F25E25"/>
              </a:gs>
              <a:gs pos="57000">
                <a:schemeClr val="accent2">
                  <a:alpha val="8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74" tIns="17137" rIns="34274" bIns="17137" rtlCol="0" anchor="ctr"/>
          <a:lstStyle/>
          <a:p>
            <a:pPr algn="ctr" defTabSz="685800">
              <a:defRPr/>
            </a:pPr>
            <a:endParaRPr lang="ru-RU" sz="1350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53D54E3-4A59-4823-BB2F-8A9FB8327514}"/>
              </a:ext>
            </a:extLst>
          </p:cNvPr>
          <p:cNvSpPr txBox="1"/>
          <p:nvPr/>
        </p:nvSpPr>
        <p:spPr>
          <a:xfrm>
            <a:off x="2897681" y="2175895"/>
            <a:ext cx="3468093" cy="1186458"/>
          </a:xfrm>
          <a:prstGeom prst="rect">
            <a:avLst/>
          </a:prstGeom>
          <a:noFill/>
        </p:spPr>
        <p:txBody>
          <a:bodyPr wrap="square" lIns="68560" tIns="34280" rIns="68560" bIns="34280" rtlCol="0">
            <a:spAutoFit/>
          </a:bodyPr>
          <a:lstStyle/>
          <a:p>
            <a:pPr algn="ctr" defTabSz="685800">
              <a:lnSpc>
                <a:spcPct val="80000"/>
              </a:lnSpc>
              <a:defRPr/>
            </a:pPr>
            <a:endParaRPr lang="en-US" sz="3000" b="1" dirty="0">
              <a:solidFill>
                <a:srgbClr val="FFFFFF"/>
              </a:solidFill>
              <a:latin typeface="Nexa Bold" panose="02000000000000000000" pitchFamily="50" charset="0"/>
            </a:endParaRPr>
          </a:p>
          <a:p>
            <a:pPr algn="ctr" defTabSz="685800">
              <a:lnSpc>
                <a:spcPct val="80000"/>
              </a:lnSpc>
              <a:defRPr/>
            </a:pPr>
            <a:r>
              <a:rPr lang="en-US" sz="3000" b="1" dirty="0">
                <a:solidFill>
                  <a:srgbClr val="FFFFFF"/>
                </a:solidFill>
                <a:latin typeface="Nexa Bold" panose="02000000000000000000" pitchFamily="50" charset="0"/>
              </a:rPr>
              <a:t>LAW SCHOOL</a:t>
            </a:r>
            <a:endParaRPr lang="lt-LT" sz="3000" b="1" dirty="0">
              <a:solidFill>
                <a:srgbClr val="FFFFFF"/>
              </a:solidFill>
              <a:latin typeface="Nexa Bold" panose="02000000000000000000" pitchFamily="50" charset="0"/>
            </a:endParaRPr>
          </a:p>
          <a:p>
            <a:pPr algn="ctr" defTabSz="685800">
              <a:lnSpc>
                <a:spcPct val="80000"/>
              </a:lnSpc>
              <a:defRPr/>
            </a:pPr>
            <a:endParaRPr lang="id-ID" sz="3000" b="1" dirty="0">
              <a:solidFill>
                <a:srgbClr val="FFFFFF"/>
              </a:solidFill>
              <a:latin typeface="Nexa Bold" panose="02000000000000000000" pitchFamily="50" charset="0"/>
            </a:endParaRPr>
          </a:p>
        </p:txBody>
      </p:sp>
      <p:pic>
        <p:nvPicPr>
          <p:cNvPr id="5" name="Paveikslėlis 4" descr="Paveikslėlis, kuriame yra tekstas&#10;&#10;Automatiškai sugeneruotas aprašymas">
            <a:extLst>
              <a:ext uri="{FF2B5EF4-FFF2-40B4-BE49-F238E27FC236}">
                <a16:creationId xmlns:a16="http://schemas.microsoft.com/office/drawing/2014/main" id="{5BEBA8F7-95BA-C20C-0473-A4F08F8A53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9277" y="821838"/>
            <a:ext cx="1104900" cy="7905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Paveikslėlis 1" descr="Paveikslėlis, kuriame yra tekstas, ekrano kopija, Šriftas, logotipas&#10;&#10;Automatiškai sugeneruotas aprašymas">
            <a:extLst>
              <a:ext uri="{FF2B5EF4-FFF2-40B4-BE49-F238E27FC236}">
                <a16:creationId xmlns:a16="http://schemas.microsoft.com/office/drawing/2014/main" id="{BA82C4CA-DBB8-D7A6-3F38-9DA3100707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2200" y="2974798"/>
            <a:ext cx="2077720" cy="1466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496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6" presetClass="emph" presetSubtype="0" decel="17391" autoRev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Scale>
                                          <p:cBhvr>
                                            <p:cTn id="6" dur="575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7" presetID="21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9" dur="20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0" presetID="8" presetClass="emph" presetSubtype="0" fill="hold" grpId="1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1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2" presetID="49" presetClass="entr" presetSubtype="0" decel="10000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4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5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6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17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8" presetID="2" presetClass="entr" presetSubtype="1" accel="30000" fill="hold" grpId="0" nodeType="withEffect" p14:presetBounceEnd="80000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80000">
                                          <p:cBhvr additive="base">
                                            <p:cTn id="20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80000">
                                          <p:cBhvr additive="base">
                                            <p:cTn id="21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21" grpId="0" animBg="1"/>
          <p:bldP spid="19" grpId="0" animBg="1"/>
          <p:bldP spid="10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10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1000" fill="hold"/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6" presetClass="emph" presetSubtype="0" decel="17391" autoRev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Scale>
                                          <p:cBhvr>
                                            <p:cTn id="11" dur="5750" fill="hold"/>
                                            <p:tgtEl>
                                              <p:spTgt spid="21"/>
                                            </p:tgtEl>
                                          </p:cBhvr>
                                          <p:by x="110000" y="110000"/>
                                        </p:animScale>
                                      </p:childTnLst>
                                    </p:cTn>
                                  </p:par>
                                  <p:par>
                                    <p:cTn id="12" presetID="21" presetClass="entr" presetSubtype="1" fill="hold" grpId="0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heel(1)">
                                          <p:cBhvr>
                                            <p:cTn id="14" dur="20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5" presetID="8" presetClass="emph" presetSubtype="0" fill="hold" grpId="1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animRot by="21600000">
                                          <p:cBhvr>
                                            <p:cTn id="16" dur="2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r</p:attrName>
                                            </p:attrNameLst>
                                          </p:cBhvr>
                                        </p:animRot>
                                      </p:childTnLst>
                                    </p:cTn>
                                  </p:par>
                                  <p:par>
                                    <p:cTn id="17" presetID="49" presetClass="entr" presetSubtype="0" decel="100000" fill="hold" grpId="0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19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0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10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rotation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36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fltVal val="0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10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3" presetID="2" presetClass="entr" presetSubtype="1" accel="30000" fill="hold" grpId="0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5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6" dur="2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7" presetID="42" presetClass="entr" presetSubtype="0" fill="hold" nodeType="withEffect">
                                      <p:stCondLst>
                                        <p:cond delay="15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10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30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1" dur="1000" fill="hold"/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9" grpId="0" animBg="1"/>
          <p:bldP spid="9" grpId="1" animBg="1"/>
          <p:bldP spid="21" grpId="0" animBg="1"/>
          <p:bldP spid="19" grpId="0" animBg="1"/>
          <p:bldP spid="10" grpId="0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B9DE3F-83B2-8822-BF83-30A9C484701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ankings</a:t>
            </a:r>
            <a:endParaRPr lang="en-LT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980A8CD-E03D-6F0A-9D3C-3359464F73F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6706" y="1014786"/>
            <a:ext cx="2673729" cy="570493"/>
          </a:xfrm>
        </p:spPr>
        <p:txBody>
          <a:bodyPr>
            <a:noAutofit/>
          </a:bodyPr>
          <a:lstStyle/>
          <a:p>
            <a:pPr lvl="0"/>
            <a:r>
              <a:rPr lang="en-GB" sz="1500" dirty="0">
                <a:latin typeface="+mj-lt"/>
                <a:ea typeface="Calibri" panose="020F0502020204030204" pitchFamily="34" charset="0"/>
              </a:rPr>
              <a:t>The </a:t>
            </a:r>
            <a:r>
              <a:rPr lang="en-GB" sz="1500" i="1" dirty="0">
                <a:latin typeface="+mj-lt"/>
              </a:rPr>
              <a:t>Times Higher Education </a:t>
            </a:r>
            <a:r>
              <a:rPr lang="en-GB" sz="1500" dirty="0">
                <a:latin typeface="+mj-lt"/>
              </a:rPr>
              <a:t>Impact Ranking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5DA5C48-0743-7941-270F-D42081B7FAE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590632" y="1014785"/>
            <a:ext cx="2047591" cy="534924"/>
          </a:xfrm>
        </p:spPr>
        <p:txBody>
          <a:bodyPr>
            <a:noAutofit/>
          </a:bodyPr>
          <a:lstStyle/>
          <a:p>
            <a:pPr lvl="0"/>
            <a:r>
              <a:rPr lang="en-GB" sz="1500" i="1" dirty="0">
                <a:latin typeface="+mj-lt"/>
                <a:ea typeface="Calibri" panose="020F0502020204030204" pitchFamily="34" charset="0"/>
              </a:rPr>
              <a:t>QS World University Rankings 2023</a:t>
            </a:r>
            <a:endParaRPr lang="en-LT" sz="1500" dirty="0">
              <a:latin typeface="+mj-lt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5CD6ED2-35F6-68DD-F733-24425F7EAD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7732" y="791620"/>
            <a:ext cx="2432957" cy="818604"/>
          </a:xfrm>
        </p:spPr>
        <p:txBody>
          <a:bodyPr>
            <a:noAutofit/>
          </a:bodyPr>
          <a:lstStyle/>
          <a:p>
            <a:pPr lvl="0"/>
            <a:r>
              <a:rPr lang="en-GB" sz="1500" b="0" kern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QS World University Rankings by Subject 2023: </a:t>
            </a:r>
            <a:r>
              <a:rPr lang="en-GB" sz="1500" kern="1800" dirty="0">
                <a:latin typeface="+mj-lt"/>
                <a:ea typeface="Times New Roman" panose="02020603050405020304" pitchFamily="18" charset="0"/>
                <a:cs typeface="Times New Roman" panose="02020603050405020304" pitchFamily="18" charset="0"/>
              </a:rPr>
              <a:t>Law &amp; Legal Studies</a:t>
            </a:r>
            <a:endParaRPr lang="en-LT" sz="1500" dirty="0">
              <a:latin typeface="+mj-lt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8043AA2-6FA8-8DD0-6B3E-26D58A783CB0}"/>
              </a:ext>
            </a:extLst>
          </p:cNvPr>
          <p:cNvCxnSpPr>
            <a:cxnSpLocks/>
          </p:cNvCxnSpPr>
          <p:nvPr/>
        </p:nvCxnSpPr>
        <p:spPr>
          <a:xfrm>
            <a:off x="453312" y="1610225"/>
            <a:ext cx="19167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CB710C2-8470-4A67-D5A2-5BD1880A920D}"/>
              </a:ext>
            </a:extLst>
          </p:cNvPr>
          <p:cNvCxnSpPr>
            <a:cxnSpLocks/>
          </p:cNvCxnSpPr>
          <p:nvPr/>
        </p:nvCxnSpPr>
        <p:spPr>
          <a:xfrm>
            <a:off x="3613639" y="1649267"/>
            <a:ext cx="19167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B3E346B-58EA-CA62-D085-8F44ADA3F644}"/>
              </a:ext>
            </a:extLst>
          </p:cNvPr>
          <p:cNvCxnSpPr>
            <a:cxnSpLocks/>
          </p:cNvCxnSpPr>
          <p:nvPr/>
        </p:nvCxnSpPr>
        <p:spPr>
          <a:xfrm>
            <a:off x="6320414" y="1649267"/>
            <a:ext cx="191672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aveikslėlis 13">
            <a:extLst>
              <a:ext uri="{FF2B5EF4-FFF2-40B4-BE49-F238E27FC236}">
                <a16:creationId xmlns:a16="http://schemas.microsoft.com/office/drawing/2014/main" id="{4C2A0248-9F02-B50F-5C1E-6F141DD2C8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10" y="1811054"/>
            <a:ext cx="2575640" cy="888235"/>
          </a:xfrm>
          <a:prstGeom prst="rect">
            <a:avLst/>
          </a:prstGeom>
          <a:noFill/>
          <a:ln>
            <a:noFill/>
          </a:ln>
        </p:spPr>
      </p:pic>
      <p:pic>
        <p:nvPicPr>
          <p:cNvPr id="24" name="Paveikslėlis 23" descr="2023 QS World University Rankings: Top universities full list - SACBU">
            <a:extLst>
              <a:ext uri="{FF2B5EF4-FFF2-40B4-BE49-F238E27FC236}">
                <a16:creationId xmlns:a16="http://schemas.microsoft.com/office/drawing/2014/main" id="{2B4C5982-ECF0-540A-477B-6EA083970FB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3639" y="1811054"/>
            <a:ext cx="1916723" cy="1109186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Teksto vietos rezervavimo ženklas 25">
            <a:extLst>
              <a:ext uri="{FF2B5EF4-FFF2-40B4-BE49-F238E27FC236}">
                <a16:creationId xmlns:a16="http://schemas.microsoft.com/office/drawing/2014/main" id="{07450498-6879-8A57-2FFE-F03D73253A9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590632" y="3593792"/>
            <a:ext cx="2341109" cy="967740"/>
          </a:xfrm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spcAft>
                <a:spcPts val="450"/>
              </a:spcAft>
              <a:buNone/>
            </a:pPr>
            <a:r>
              <a:rPr lang="en-GB" sz="12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501st </a:t>
            </a:r>
            <a:r>
              <a:rPr lang="en-GB" sz="1200" dirty="0">
                <a:solidFill>
                  <a:srgbClr val="80808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- academic reputation and reputation among employers</a:t>
            </a:r>
            <a:endParaRPr lang="lt-LT" sz="12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10000"/>
              </a:lnSpc>
              <a:spcAft>
                <a:spcPts val="450"/>
              </a:spcAft>
              <a:buNone/>
            </a:pPr>
            <a:r>
              <a:rPr lang="en-GB" sz="1200" b="1" dirty="0">
                <a:latin typeface="+mj-lt"/>
                <a:ea typeface="Calibri" panose="020F0502020204030204" pitchFamily="34" charset="0"/>
              </a:rPr>
              <a:t>560th</a:t>
            </a:r>
            <a:r>
              <a:rPr lang="en-GB" sz="1200" b="1" dirty="0">
                <a:solidFill>
                  <a:srgbClr val="808080"/>
                </a:solidFill>
                <a:latin typeface="+mj-lt"/>
                <a:ea typeface="Calibri" panose="020F0502020204030204" pitchFamily="34" charset="0"/>
              </a:rPr>
              <a:t> </a:t>
            </a:r>
            <a:r>
              <a:rPr lang="en-GB" sz="1200" dirty="0">
                <a:solidFill>
                  <a:srgbClr val="808080"/>
                </a:solidFill>
                <a:latin typeface="+mj-lt"/>
                <a:ea typeface="Calibri" panose="020F0502020204030204" pitchFamily="34" charset="0"/>
              </a:rPr>
              <a:t>- the number of foreign students</a:t>
            </a:r>
            <a:endParaRPr lang="lt-LT" sz="1200" dirty="0">
              <a:latin typeface="+mj-lt"/>
            </a:endParaRPr>
          </a:p>
        </p:txBody>
      </p:sp>
      <p:pic>
        <p:nvPicPr>
          <p:cNvPr id="29" name="Paveikslėlis 28" descr="Paveikslėlis, kuriame yra žinutė&#10;&#10;Automatiškai sugeneruotas aprašymas">
            <a:extLst>
              <a:ext uri="{FF2B5EF4-FFF2-40B4-BE49-F238E27FC236}">
                <a16:creationId xmlns:a16="http://schemas.microsoft.com/office/drawing/2014/main" id="{8DF16092-AE15-567A-12E2-ABE5C67E53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13638" y="2952260"/>
            <a:ext cx="1909980" cy="557758"/>
          </a:xfrm>
          <a:prstGeom prst="rect">
            <a:avLst/>
          </a:prstGeom>
        </p:spPr>
      </p:pic>
      <p:pic>
        <p:nvPicPr>
          <p:cNvPr id="3" name="Paveikslėlis 2" descr="Paveikslėlis, kuriame yra tekstas, ekrano kopija, Šriftas, logotipas&#10;&#10;Automatiškai sugeneruotas aprašymas">
            <a:extLst>
              <a:ext uri="{FF2B5EF4-FFF2-40B4-BE49-F238E27FC236}">
                <a16:creationId xmlns:a16="http://schemas.microsoft.com/office/drawing/2014/main" id="{A9CE8700-9B47-BC77-316A-8DB6ED9D480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414" y="1811054"/>
            <a:ext cx="1916723" cy="1353188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aveikslėlis 6">
            <a:extLst>
              <a:ext uri="{FF2B5EF4-FFF2-40B4-BE49-F238E27FC236}">
                <a16:creationId xmlns:a16="http://schemas.microsoft.com/office/drawing/2014/main" id="{7D81B0B4-4EF3-53A6-1224-AF399A848D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330" y="3055130"/>
            <a:ext cx="2750105" cy="1023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049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TextBox 312"/>
          <p:cNvSpPr txBox="1"/>
          <p:nvPr/>
        </p:nvSpPr>
        <p:spPr>
          <a:xfrm>
            <a:off x="2987825" y="4096204"/>
            <a:ext cx="14746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Century Gothic"/>
                <a:cs typeface="Century Gothic"/>
              </a:rPr>
              <a:t>In the world</a:t>
            </a:r>
          </a:p>
        </p:txBody>
      </p:sp>
      <p:sp>
        <p:nvSpPr>
          <p:cNvPr id="256" name="Oval 255"/>
          <p:cNvSpPr/>
          <p:nvPr/>
        </p:nvSpPr>
        <p:spPr>
          <a:xfrm>
            <a:off x="3146720" y="3703733"/>
            <a:ext cx="1359743" cy="292005"/>
          </a:xfrm>
          <a:prstGeom prst="ellipse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48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Century Gothic"/>
              <a:cs typeface="Century Gothic"/>
            </a:endParaRPr>
          </a:p>
        </p:txBody>
      </p:sp>
      <p:sp>
        <p:nvSpPr>
          <p:cNvPr id="240" name="Oval 239"/>
          <p:cNvSpPr/>
          <p:nvPr/>
        </p:nvSpPr>
        <p:spPr>
          <a:xfrm>
            <a:off x="4647064" y="3703733"/>
            <a:ext cx="1359743" cy="292005"/>
          </a:xfrm>
          <a:prstGeom prst="ellipse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48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Century Gothic"/>
              <a:cs typeface="Century Gothic"/>
            </a:endParaRPr>
          </a:p>
        </p:txBody>
      </p:sp>
      <p:sp>
        <p:nvSpPr>
          <p:cNvPr id="224" name="Oval 223"/>
          <p:cNvSpPr/>
          <p:nvPr/>
        </p:nvSpPr>
        <p:spPr>
          <a:xfrm>
            <a:off x="6147408" y="3703733"/>
            <a:ext cx="1359743" cy="292005"/>
          </a:xfrm>
          <a:prstGeom prst="ellipse">
            <a:avLst/>
          </a:prstGeom>
          <a:gradFill flip="none" rotWithShape="1">
            <a:gsLst>
              <a:gs pos="100000">
                <a:schemeClr val="tx1">
                  <a:alpha val="0"/>
                </a:schemeClr>
              </a:gs>
              <a:gs pos="0">
                <a:schemeClr val="tx1">
                  <a:alpha val="4800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latin typeface="Century Gothic"/>
              <a:cs typeface="Century Gothic"/>
            </a:endParaRPr>
          </a:p>
        </p:txBody>
      </p:sp>
      <p:grpSp>
        <p:nvGrpSpPr>
          <p:cNvPr id="205" name="Group 204"/>
          <p:cNvGrpSpPr/>
          <p:nvPr/>
        </p:nvGrpSpPr>
        <p:grpSpPr>
          <a:xfrm>
            <a:off x="3189558" y="915565"/>
            <a:ext cx="961308" cy="597254"/>
            <a:chOff x="5739521" y="2672652"/>
            <a:chExt cx="772113" cy="488498"/>
          </a:xfrm>
        </p:grpSpPr>
        <p:sp>
          <p:nvSpPr>
            <p:cNvPr id="212" name="Rounded Rectangular Callout 211"/>
            <p:cNvSpPr/>
            <p:nvPr/>
          </p:nvSpPr>
          <p:spPr>
            <a:xfrm>
              <a:off x="5739521" y="2672652"/>
              <a:ext cx="772113" cy="472334"/>
            </a:xfrm>
            <a:prstGeom prst="wedgeRoundRectCallout">
              <a:avLst>
                <a:gd name="adj1" fmla="val -19482"/>
                <a:gd name="adj2" fmla="val 107611"/>
                <a:gd name="adj3" fmla="val 16667"/>
              </a:avLst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Century Gothic"/>
                <a:cs typeface="Century Gothic"/>
              </a:endParaRPr>
            </a:p>
          </p:txBody>
        </p:sp>
        <p:sp>
          <p:nvSpPr>
            <p:cNvPr id="213" name="TextBox 212"/>
            <p:cNvSpPr txBox="1"/>
            <p:nvPr/>
          </p:nvSpPr>
          <p:spPr>
            <a:xfrm>
              <a:off x="5759817" y="2708031"/>
              <a:ext cx="731521" cy="4531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4"/>
                  </a:solidFill>
                  <a:latin typeface="Century Gothic"/>
                  <a:cs typeface="Century Gothic"/>
                </a:rPr>
                <a:t>TOP</a:t>
              </a:r>
            </a:p>
            <a:p>
              <a:pPr algn="ctr"/>
              <a:r>
                <a:rPr lang="en-US" sz="1500" b="1" dirty="0">
                  <a:solidFill>
                    <a:schemeClr val="accent4"/>
                  </a:solidFill>
                  <a:latin typeface="Century Gothic"/>
                  <a:cs typeface="Century Gothic"/>
                </a:rPr>
                <a:t>250</a:t>
              </a:r>
            </a:p>
          </p:txBody>
        </p:sp>
      </p:grpSp>
      <p:grpSp>
        <p:nvGrpSpPr>
          <p:cNvPr id="206" name="Group 205"/>
          <p:cNvGrpSpPr/>
          <p:nvPr/>
        </p:nvGrpSpPr>
        <p:grpSpPr>
          <a:xfrm>
            <a:off x="6449223" y="915567"/>
            <a:ext cx="904835" cy="595114"/>
            <a:chOff x="8662831" y="1370326"/>
            <a:chExt cx="772113" cy="527478"/>
          </a:xfrm>
        </p:grpSpPr>
        <p:sp>
          <p:nvSpPr>
            <p:cNvPr id="210" name="Rounded Rectangular Callout 209"/>
            <p:cNvSpPr/>
            <p:nvPr/>
          </p:nvSpPr>
          <p:spPr>
            <a:xfrm>
              <a:off x="8662831" y="1370326"/>
              <a:ext cx="772113" cy="472334"/>
            </a:xfrm>
            <a:prstGeom prst="wedgeRoundRectCallout">
              <a:avLst>
                <a:gd name="adj1" fmla="val -19482"/>
                <a:gd name="adj2" fmla="val 107611"/>
                <a:gd name="adj3" fmla="val 16667"/>
              </a:avLst>
            </a:prstGeom>
            <a:noFill/>
            <a:ln w="190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Century Gothic"/>
                <a:cs typeface="Century Gothic"/>
              </a:endParaRPr>
            </a:p>
          </p:txBody>
        </p:sp>
        <p:sp>
          <p:nvSpPr>
            <p:cNvPr id="211" name="TextBox 210"/>
            <p:cNvSpPr txBox="1"/>
            <p:nvPr/>
          </p:nvSpPr>
          <p:spPr>
            <a:xfrm>
              <a:off x="8683127" y="1406769"/>
              <a:ext cx="731521" cy="49103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>
                  <a:solidFill>
                    <a:schemeClr val="accent2"/>
                  </a:solidFill>
                  <a:latin typeface="Century Gothic"/>
                  <a:cs typeface="Century Gothic"/>
                </a:rPr>
                <a:t>TOP 1</a:t>
              </a:r>
            </a:p>
            <a:p>
              <a:pPr algn="ctr"/>
              <a:endParaRPr lang="en-US" sz="1500" b="1" dirty="0">
                <a:solidFill>
                  <a:schemeClr val="accent2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4830415" y="915569"/>
            <a:ext cx="955044" cy="539772"/>
            <a:chOff x="7191160" y="2201598"/>
            <a:chExt cx="772113" cy="472334"/>
          </a:xfrm>
        </p:grpSpPr>
        <p:sp>
          <p:nvSpPr>
            <p:cNvPr id="208" name="Rounded Rectangular Callout 207"/>
            <p:cNvSpPr/>
            <p:nvPr/>
          </p:nvSpPr>
          <p:spPr>
            <a:xfrm>
              <a:off x="7191160" y="2201598"/>
              <a:ext cx="772113" cy="472334"/>
            </a:xfrm>
            <a:prstGeom prst="wedgeRoundRectCallout">
              <a:avLst>
                <a:gd name="adj1" fmla="val -19482"/>
                <a:gd name="adj2" fmla="val 107611"/>
                <a:gd name="adj3" fmla="val 16667"/>
              </a:avLst>
            </a:prstGeom>
            <a:noFill/>
            <a:ln w="190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>
                <a:latin typeface="Century Gothic"/>
                <a:cs typeface="Century Gothic"/>
              </a:endParaRPr>
            </a:p>
          </p:txBody>
        </p:sp>
        <p:sp>
          <p:nvSpPr>
            <p:cNvPr id="209" name="TextBox 208"/>
            <p:cNvSpPr txBox="1"/>
            <p:nvPr/>
          </p:nvSpPr>
          <p:spPr>
            <a:xfrm>
              <a:off x="7191160" y="2237737"/>
              <a:ext cx="731521" cy="2827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>
                  <a:solidFill>
                    <a:schemeClr val="accent5"/>
                  </a:solidFill>
                  <a:latin typeface="Century Gothic"/>
                  <a:cs typeface="Century Gothic"/>
                </a:rPr>
                <a:t>TOP 10</a:t>
              </a:r>
              <a:endParaRPr lang="en-US" sz="1500" b="1" dirty="0">
                <a:solidFill>
                  <a:schemeClr val="accent5"/>
                </a:solidFill>
                <a:latin typeface="Century Gothic"/>
                <a:cs typeface="Century Gothic"/>
              </a:endParaRPr>
            </a:p>
          </p:txBody>
        </p:sp>
      </p:grpSp>
      <p:sp>
        <p:nvSpPr>
          <p:cNvPr id="127" name="TextBox 126"/>
          <p:cNvSpPr txBox="1"/>
          <p:nvPr/>
        </p:nvSpPr>
        <p:spPr>
          <a:xfrm>
            <a:off x="4748212" y="4081300"/>
            <a:ext cx="13597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Century Gothic"/>
                <a:cs typeface="Century Gothic"/>
              </a:rPr>
              <a:t>Central and Eastern Europe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6234112" y="4081300"/>
            <a:ext cx="12272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rgbClr val="000000"/>
                </a:solidFill>
                <a:latin typeface="Century Gothic"/>
                <a:cs typeface="Century Gothic"/>
              </a:rPr>
              <a:t>Baltic states</a:t>
            </a:r>
          </a:p>
        </p:txBody>
      </p:sp>
      <p:grpSp>
        <p:nvGrpSpPr>
          <p:cNvPr id="311" name="Group 310"/>
          <p:cNvGrpSpPr/>
          <p:nvPr/>
        </p:nvGrpSpPr>
        <p:grpSpPr>
          <a:xfrm>
            <a:off x="3358540" y="1790067"/>
            <a:ext cx="926576" cy="2088712"/>
            <a:chOff x="1937410" y="3020881"/>
            <a:chExt cx="884622" cy="1994136"/>
          </a:xfrm>
          <a:solidFill>
            <a:schemeClr val="bg1">
              <a:lumMod val="85000"/>
            </a:schemeClr>
          </a:solidFill>
        </p:grpSpPr>
        <p:grpSp>
          <p:nvGrpSpPr>
            <p:cNvPr id="312" name="Group 311"/>
            <p:cNvGrpSpPr/>
            <p:nvPr/>
          </p:nvGrpSpPr>
          <p:grpSpPr>
            <a:xfrm>
              <a:off x="1937410" y="3367967"/>
              <a:ext cx="884622" cy="1647050"/>
              <a:chOff x="3676470" y="3236859"/>
              <a:chExt cx="884622" cy="1647050"/>
            </a:xfrm>
            <a:grpFill/>
          </p:grpSpPr>
          <p:grpSp>
            <p:nvGrpSpPr>
              <p:cNvPr id="316" name="Group 315"/>
              <p:cNvGrpSpPr/>
              <p:nvPr/>
            </p:nvGrpSpPr>
            <p:grpSpPr>
              <a:xfrm>
                <a:off x="3676470" y="3236859"/>
                <a:ext cx="884622" cy="1187061"/>
                <a:chOff x="2195244" y="2011794"/>
                <a:chExt cx="2577450" cy="3458651"/>
              </a:xfrm>
              <a:grpFill/>
            </p:grpSpPr>
            <p:sp>
              <p:nvSpPr>
                <p:cNvPr id="321" name="Freeform 320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2" name="Freeform 321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3" name="Freeform 322"/>
                <p:cNvSpPr/>
                <p:nvPr/>
              </p:nvSpPr>
              <p:spPr>
                <a:xfrm>
                  <a:off x="2195244" y="291141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4" name="Freeform 323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5" name="Freeform 324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6" name="Freeform 325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7" name="Freeform 326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317" name="Group 316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grpFill/>
            </p:grpSpPr>
            <p:sp>
              <p:nvSpPr>
                <p:cNvPr id="318" name="Freeform 317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19" name="Freeform 318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20" name="Freeform 319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sp>
          <p:nvSpPr>
            <p:cNvPr id="314" name="Freeform 313"/>
            <p:cNvSpPr/>
            <p:nvPr/>
          </p:nvSpPr>
          <p:spPr>
            <a:xfrm>
              <a:off x="1937410" y="3020881"/>
              <a:ext cx="884622" cy="442310"/>
            </a:xfrm>
            <a:custGeom>
              <a:avLst/>
              <a:gdLst>
                <a:gd name="connsiteX0" fmla="*/ 442311 w 884622"/>
                <a:gd name="connsiteY0" fmla="*/ 0 h 442310"/>
                <a:gd name="connsiteX1" fmla="*/ 884622 w 884622"/>
                <a:gd name="connsiteY1" fmla="*/ 221155 h 442310"/>
                <a:gd name="connsiteX2" fmla="*/ 442311 w 884622"/>
                <a:gd name="connsiteY2" fmla="*/ 442310 h 442310"/>
                <a:gd name="connsiteX3" fmla="*/ 0 w 884622"/>
                <a:gd name="connsiteY3" fmla="*/ 221155 h 442310"/>
                <a:gd name="connsiteX4" fmla="*/ 442311 w 884622"/>
                <a:gd name="connsiteY4" fmla="*/ 0 h 44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622" h="442310">
                  <a:moveTo>
                    <a:pt x="442311" y="0"/>
                  </a:moveTo>
                  <a:cubicBezTo>
                    <a:pt x="686593" y="0"/>
                    <a:pt x="884622" y="99015"/>
                    <a:pt x="884622" y="221155"/>
                  </a:cubicBezTo>
                  <a:cubicBezTo>
                    <a:pt x="884622" y="343296"/>
                    <a:pt x="686593" y="442310"/>
                    <a:pt x="442311" y="442310"/>
                  </a:cubicBezTo>
                  <a:cubicBezTo>
                    <a:pt x="198029" y="442310"/>
                    <a:pt x="0" y="343296"/>
                    <a:pt x="0" y="221155"/>
                  </a:cubicBezTo>
                  <a:cubicBezTo>
                    <a:pt x="0" y="99015"/>
                    <a:pt x="198029" y="0"/>
                    <a:pt x="442311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295" name="Group 294"/>
          <p:cNvGrpSpPr/>
          <p:nvPr/>
        </p:nvGrpSpPr>
        <p:grpSpPr>
          <a:xfrm>
            <a:off x="4858884" y="1790067"/>
            <a:ext cx="926576" cy="2088712"/>
            <a:chOff x="1937410" y="3020881"/>
            <a:chExt cx="884622" cy="1994136"/>
          </a:xfrm>
          <a:solidFill>
            <a:schemeClr val="bg1">
              <a:lumMod val="85000"/>
            </a:schemeClr>
          </a:solidFill>
        </p:grpSpPr>
        <p:grpSp>
          <p:nvGrpSpPr>
            <p:cNvPr id="296" name="Group 295"/>
            <p:cNvGrpSpPr/>
            <p:nvPr/>
          </p:nvGrpSpPr>
          <p:grpSpPr>
            <a:xfrm>
              <a:off x="1937410" y="3367967"/>
              <a:ext cx="884622" cy="1647050"/>
              <a:chOff x="3676470" y="3236859"/>
              <a:chExt cx="884622" cy="1647050"/>
            </a:xfrm>
            <a:grpFill/>
          </p:grpSpPr>
          <p:grpSp>
            <p:nvGrpSpPr>
              <p:cNvPr id="298" name="Group 297"/>
              <p:cNvGrpSpPr/>
              <p:nvPr/>
            </p:nvGrpSpPr>
            <p:grpSpPr>
              <a:xfrm>
                <a:off x="3676470" y="3236859"/>
                <a:ext cx="884622" cy="1187061"/>
                <a:chOff x="2195244" y="2011794"/>
                <a:chExt cx="2577450" cy="3458651"/>
              </a:xfrm>
              <a:grpFill/>
            </p:grpSpPr>
            <p:sp>
              <p:nvSpPr>
                <p:cNvPr id="303" name="Freeform 302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4" name="Freeform 303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5" name="Freeform 304"/>
                <p:cNvSpPr/>
                <p:nvPr/>
              </p:nvSpPr>
              <p:spPr>
                <a:xfrm>
                  <a:off x="2195244" y="291141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6" name="Freeform 305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7" name="Freeform 306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8" name="Freeform 307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9" name="Freeform 308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299" name="Group 298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grpFill/>
            </p:grpSpPr>
            <p:sp>
              <p:nvSpPr>
                <p:cNvPr id="300" name="Freeform 299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1" name="Freeform 300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02" name="Freeform 301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sp>
          <p:nvSpPr>
            <p:cNvPr id="297" name="Freeform 296"/>
            <p:cNvSpPr/>
            <p:nvPr/>
          </p:nvSpPr>
          <p:spPr>
            <a:xfrm>
              <a:off x="1937410" y="3020881"/>
              <a:ext cx="884622" cy="442310"/>
            </a:xfrm>
            <a:custGeom>
              <a:avLst/>
              <a:gdLst>
                <a:gd name="connsiteX0" fmla="*/ 442311 w 884622"/>
                <a:gd name="connsiteY0" fmla="*/ 0 h 442310"/>
                <a:gd name="connsiteX1" fmla="*/ 884622 w 884622"/>
                <a:gd name="connsiteY1" fmla="*/ 221155 h 442310"/>
                <a:gd name="connsiteX2" fmla="*/ 442311 w 884622"/>
                <a:gd name="connsiteY2" fmla="*/ 442310 h 442310"/>
                <a:gd name="connsiteX3" fmla="*/ 0 w 884622"/>
                <a:gd name="connsiteY3" fmla="*/ 221155 h 442310"/>
                <a:gd name="connsiteX4" fmla="*/ 442311 w 884622"/>
                <a:gd name="connsiteY4" fmla="*/ 0 h 44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622" h="442310">
                  <a:moveTo>
                    <a:pt x="442311" y="0"/>
                  </a:moveTo>
                  <a:cubicBezTo>
                    <a:pt x="686593" y="0"/>
                    <a:pt x="884622" y="99015"/>
                    <a:pt x="884622" y="221155"/>
                  </a:cubicBezTo>
                  <a:cubicBezTo>
                    <a:pt x="884622" y="343296"/>
                    <a:pt x="686593" y="442310"/>
                    <a:pt x="442311" y="442310"/>
                  </a:cubicBezTo>
                  <a:cubicBezTo>
                    <a:pt x="198029" y="442310"/>
                    <a:pt x="0" y="343296"/>
                    <a:pt x="0" y="221155"/>
                  </a:cubicBezTo>
                  <a:cubicBezTo>
                    <a:pt x="0" y="99015"/>
                    <a:pt x="198029" y="0"/>
                    <a:pt x="442311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6359227" y="1790067"/>
            <a:ext cx="926576" cy="2088712"/>
            <a:chOff x="1937410" y="3020881"/>
            <a:chExt cx="884622" cy="1994136"/>
          </a:xfrm>
          <a:solidFill>
            <a:schemeClr val="bg1">
              <a:lumMod val="85000"/>
            </a:schemeClr>
          </a:solidFill>
        </p:grpSpPr>
        <p:grpSp>
          <p:nvGrpSpPr>
            <p:cNvPr id="199" name="Group 198"/>
            <p:cNvGrpSpPr/>
            <p:nvPr/>
          </p:nvGrpSpPr>
          <p:grpSpPr>
            <a:xfrm>
              <a:off x="1937410" y="3367967"/>
              <a:ext cx="884622" cy="1647050"/>
              <a:chOff x="3676470" y="3236859"/>
              <a:chExt cx="884622" cy="1647050"/>
            </a:xfrm>
            <a:grpFill/>
          </p:grpSpPr>
          <p:grpSp>
            <p:nvGrpSpPr>
              <p:cNvPr id="201" name="Group 200"/>
              <p:cNvGrpSpPr/>
              <p:nvPr/>
            </p:nvGrpSpPr>
            <p:grpSpPr>
              <a:xfrm>
                <a:off x="3676470" y="3236859"/>
                <a:ext cx="884622" cy="1187061"/>
                <a:chOff x="2195244" y="2011794"/>
                <a:chExt cx="2577450" cy="3458651"/>
              </a:xfrm>
              <a:grpFill/>
            </p:grpSpPr>
            <p:sp>
              <p:nvSpPr>
                <p:cNvPr id="287" name="Freeform 286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88" name="Freeform 287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89" name="Freeform 288"/>
                <p:cNvSpPr/>
                <p:nvPr/>
              </p:nvSpPr>
              <p:spPr>
                <a:xfrm>
                  <a:off x="2195244" y="291141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0" name="Freeform 289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1" name="Freeform 290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2" name="Freeform 291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93" name="Freeform 292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203" name="Group 202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grpFill/>
            </p:grpSpPr>
            <p:sp>
              <p:nvSpPr>
                <p:cNvPr id="216" name="Freeform 215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17" name="Freeform 216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218" name="Freeform 217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sp>
          <p:nvSpPr>
            <p:cNvPr id="200" name="Freeform 199"/>
            <p:cNvSpPr/>
            <p:nvPr/>
          </p:nvSpPr>
          <p:spPr>
            <a:xfrm>
              <a:off x="1937410" y="3020881"/>
              <a:ext cx="884622" cy="442310"/>
            </a:xfrm>
            <a:custGeom>
              <a:avLst/>
              <a:gdLst>
                <a:gd name="connsiteX0" fmla="*/ 442311 w 884622"/>
                <a:gd name="connsiteY0" fmla="*/ 0 h 442310"/>
                <a:gd name="connsiteX1" fmla="*/ 884622 w 884622"/>
                <a:gd name="connsiteY1" fmla="*/ 221155 h 442310"/>
                <a:gd name="connsiteX2" fmla="*/ 442311 w 884622"/>
                <a:gd name="connsiteY2" fmla="*/ 442310 h 442310"/>
                <a:gd name="connsiteX3" fmla="*/ 0 w 884622"/>
                <a:gd name="connsiteY3" fmla="*/ 221155 h 442310"/>
                <a:gd name="connsiteX4" fmla="*/ 442311 w 884622"/>
                <a:gd name="connsiteY4" fmla="*/ 0 h 4423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4622" h="442310">
                  <a:moveTo>
                    <a:pt x="442311" y="0"/>
                  </a:moveTo>
                  <a:cubicBezTo>
                    <a:pt x="686593" y="0"/>
                    <a:pt x="884622" y="99015"/>
                    <a:pt x="884622" y="221155"/>
                  </a:cubicBezTo>
                  <a:cubicBezTo>
                    <a:pt x="884622" y="343296"/>
                    <a:pt x="686593" y="442310"/>
                    <a:pt x="442311" y="442310"/>
                  </a:cubicBezTo>
                  <a:cubicBezTo>
                    <a:pt x="198029" y="442310"/>
                    <a:pt x="0" y="343296"/>
                    <a:pt x="0" y="221155"/>
                  </a:cubicBezTo>
                  <a:cubicBezTo>
                    <a:pt x="0" y="99015"/>
                    <a:pt x="198029" y="0"/>
                    <a:pt x="442311" y="0"/>
                  </a:cubicBezTo>
                  <a:close/>
                </a:path>
              </a:pathLst>
            </a:cu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35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389" name="Group 388"/>
          <p:cNvGrpSpPr/>
          <p:nvPr/>
        </p:nvGrpSpPr>
        <p:grpSpPr>
          <a:xfrm>
            <a:off x="3358541" y="2153616"/>
            <a:ext cx="3927263" cy="1720906"/>
            <a:chOff x="5274025" y="2697241"/>
            <a:chExt cx="4500678" cy="1757460"/>
          </a:xfrm>
        </p:grpSpPr>
        <p:grpSp>
          <p:nvGrpSpPr>
            <p:cNvPr id="391" name="Group 390"/>
            <p:cNvGrpSpPr/>
            <p:nvPr/>
          </p:nvGrpSpPr>
          <p:grpSpPr>
            <a:xfrm>
              <a:off x="5274025" y="3053340"/>
              <a:ext cx="4500678" cy="1401350"/>
              <a:chOff x="3676470" y="3710988"/>
              <a:chExt cx="3767036" cy="1172921"/>
            </a:xfrm>
          </p:grpSpPr>
          <p:sp>
            <p:nvSpPr>
              <p:cNvPr id="413" name="Freeform 412"/>
              <p:cNvSpPr/>
              <p:nvPr/>
            </p:nvSpPr>
            <p:spPr>
              <a:xfrm>
                <a:off x="6558884" y="3710988"/>
                <a:ext cx="884622" cy="260767"/>
              </a:xfrm>
              <a:custGeom>
                <a:avLst/>
                <a:gdLst>
                  <a:gd name="connsiteX0" fmla="*/ 31058 w 3676650"/>
                  <a:gd name="connsiteY0" fmla="*/ 0 h 1083799"/>
                  <a:gd name="connsiteX1" fmla="*/ 104621 w 3676650"/>
                  <a:gd name="connsiteY1" fmla="*/ 78935 h 1083799"/>
                  <a:gd name="connsiteX2" fmla="*/ 1838325 w 3676650"/>
                  <a:gd name="connsiteY2" fmla="*/ 612310 h 1083799"/>
                  <a:gd name="connsiteX3" fmla="*/ 3572030 w 3676650"/>
                  <a:gd name="connsiteY3" fmla="*/ 78935 h 1083799"/>
                  <a:gd name="connsiteX4" fmla="*/ 3645592 w 3676650"/>
                  <a:gd name="connsiteY4" fmla="*/ 0 h 1083799"/>
                  <a:gd name="connsiteX5" fmla="*/ 3667159 w 3676650"/>
                  <a:gd name="connsiteY5" fmla="*/ 70657 h 1083799"/>
                  <a:gd name="connsiteX6" fmla="*/ 3676650 w 3676650"/>
                  <a:gd name="connsiteY6" fmla="*/ 164636 h 1083799"/>
                  <a:gd name="connsiteX7" fmla="*/ 1838325 w 3676650"/>
                  <a:gd name="connsiteY7" fmla="*/ 1083799 h 1083799"/>
                  <a:gd name="connsiteX8" fmla="*/ 0 w 3676650"/>
                  <a:gd name="connsiteY8" fmla="*/ 164636 h 1083799"/>
                  <a:gd name="connsiteX9" fmla="*/ 9491 w 3676650"/>
                  <a:gd name="connsiteY9" fmla="*/ 70657 h 10837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3676650" h="1083799">
                    <a:moveTo>
                      <a:pt x="31058" y="0"/>
                    </a:moveTo>
                    <a:lnTo>
                      <a:pt x="104621" y="78935"/>
                    </a:lnTo>
                    <a:cubicBezTo>
                      <a:pt x="438503" y="396637"/>
                      <a:pt x="1089689" y="612310"/>
                      <a:pt x="1838325" y="612310"/>
                    </a:cubicBezTo>
                    <a:cubicBezTo>
                      <a:pt x="2586962" y="612310"/>
                      <a:pt x="3238148" y="396637"/>
                      <a:pt x="3572030" y="78935"/>
                    </a:cubicBezTo>
                    <a:lnTo>
                      <a:pt x="3645592" y="0"/>
                    </a:lnTo>
                    <a:lnTo>
                      <a:pt x="3667159" y="70657"/>
                    </a:lnTo>
                    <a:cubicBezTo>
                      <a:pt x="3673435" y="101557"/>
                      <a:pt x="3676650" y="132909"/>
                      <a:pt x="3676650" y="164636"/>
                    </a:cubicBezTo>
                    <a:cubicBezTo>
                      <a:pt x="3676650" y="672276"/>
                      <a:pt x="2853604" y="1083799"/>
                      <a:pt x="1838325" y="1083799"/>
                    </a:cubicBezTo>
                    <a:cubicBezTo>
                      <a:pt x="823046" y="1083799"/>
                      <a:pt x="0" y="672276"/>
                      <a:pt x="0" y="164636"/>
                    </a:cubicBezTo>
                    <a:cubicBezTo>
                      <a:pt x="0" y="132909"/>
                      <a:pt x="3215" y="101557"/>
                      <a:pt x="9491" y="70657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>
                  <a:solidFill>
                    <a:prstClr val="white"/>
                  </a:solidFill>
                  <a:latin typeface="Century Gothic"/>
                  <a:cs typeface="Century Gothic"/>
                </a:endParaRPr>
              </a:p>
            </p:txBody>
          </p:sp>
          <p:grpSp>
            <p:nvGrpSpPr>
              <p:cNvPr id="414" name="Group 413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solidFill>
                <a:srgbClr val="C62926"/>
              </a:solidFill>
            </p:grpSpPr>
            <p:sp>
              <p:nvSpPr>
                <p:cNvPr id="415" name="Freeform 414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6" name="Freeform 415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7" name="Freeform 416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grpSp>
          <p:nvGrpSpPr>
            <p:cNvPr id="392" name="Group 391"/>
            <p:cNvGrpSpPr/>
            <p:nvPr/>
          </p:nvGrpSpPr>
          <p:grpSpPr>
            <a:xfrm>
              <a:off x="6985401" y="2697241"/>
              <a:ext cx="2785088" cy="1757460"/>
              <a:chOff x="3676470" y="3412929"/>
              <a:chExt cx="2331099" cy="1470980"/>
            </a:xfrm>
          </p:grpSpPr>
          <p:grpSp>
            <p:nvGrpSpPr>
              <p:cNvPr id="402" name="Group 401"/>
              <p:cNvGrpSpPr/>
              <p:nvPr/>
            </p:nvGrpSpPr>
            <p:grpSpPr>
              <a:xfrm>
                <a:off x="3676470" y="3412929"/>
                <a:ext cx="2331099" cy="1010989"/>
                <a:chOff x="2195244" y="2524798"/>
                <a:chExt cx="6791930" cy="2945647"/>
              </a:xfrm>
              <a:solidFill>
                <a:srgbClr val="C62926"/>
              </a:solidFill>
            </p:grpSpPr>
            <p:sp>
              <p:nvSpPr>
                <p:cNvPr id="407" name="Freeform 406"/>
                <p:cNvSpPr/>
                <p:nvPr/>
              </p:nvSpPr>
              <p:spPr>
                <a:xfrm>
                  <a:off x="6373458" y="2950067"/>
                  <a:ext cx="2577451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8" name="Freeform 407"/>
                <p:cNvSpPr/>
                <p:nvPr/>
              </p:nvSpPr>
              <p:spPr>
                <a:xfrm>
                  <a:off x="6409722" y="2524798"/>
                  <a:ext cx="2577452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9" name="Freeform 408"/>
                <p:cNvSpPr/>
                <p:nvPr/>
              </p:nvSpPr>
              <p:spPr>
                <a:xfrm>
                  <a:off x="2195244" y="3361230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0" name="Freeform 409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1" name="Freeform 410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12" name="Freeform 411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403" name="Group 402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solidFill>
                <a:srgbClr val="C62926"/>
              </a:solidFill>
            </p:grpSpPr>
            <p:sp>
              <p:nvSpPr>
                <p:cNvPr id="404" name="Freeform 403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5" name="Freeform 404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6" name="Freeform 405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  <p:grpSp>
          <p:nvGrpSpPr>
            <p:cNvPr id="393" name="Group 392"/>
            <p:cNvGrpSpPr/>
            <p:nvPr/>
          </p:nvGrpSpPr>
          <p:grpSpPr>
            <a:xfrm>
              <a:off x="8696779" y="3224673"/>
              <a:ext cx="1056905" cy="1230021"/>
              <a:chOff x="3676470" y="3854390"/>
              <a:chExt cx="884622" cy="1029519"/>
            </a:xfrm>
          </p:grpSpPr>
          <p:grpSp>
            <p:nvGrpSpPr>
              <p:cNvPr id="394" name="Group 393"/>
              <p:cNvGrpSpPr/>
              <p:nvPr/>
            </p:nvGrpSpPr>
            <p:grpSpPr>
              <a:xfrm>
                <a:off x="3676470" y="3854390"/>
                <a:ext cx="884622" cy="569533"/>
                <a:chOff x="2195244" y="3811042"/>
                <a:chExt cx="2577450" cy="1659403"/>
              </a:xfrm>
              <a:solidFill>
                <a:srgbClr val="C62926"/>
              </a:solidFill>
            </p:grpSpPr>
            <p:sp>
              <p:nvSpPr>
                <p:cNvPr id="399" name="Freeform 398"/>
                <p:cNvSpPr/>
                <p:nvPr/>
              </p:nvSpPr>
              <p:spPr>
                <a:xfrm>
                  <a:off x="2195244" y="381104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 dirty="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0" name="Freeform 399"/>
                <p:cNvSpPr/>
                <p:nvPr/>
              </p:nvSpPr>
              <p:spPr>
                <a:xfrm>
                  <a:off x="2195244" y="426085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401" name="Freeform 400"/>
                <p:cNvSpPr/>
                <p:nvPr/>
              </p:nvSpPr>
              <p:spPr>
                <a:xfrm>
                  <a:off x="2195244" y="4710668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  <p:grpSp>
            <p:nvGrpSpPr>
              <p:cNvPr id="395" name="Group 394"/>
              <p:cNvGrpSpPr/>
              <p:nvPr/>
            </p:nvGrpSpPr>
            <p:grpSpPr>
              <a:xfrm>
                <a:off x="3676470" y="4314377"/>
                <a:ext cx="884622" cy="569532"/>
                <a:chOff x="2195244" y="1561982"/>
                <a:chExt cx="2577450" cy="1659401"/>
              </a:xfrm>
              <a:solidFill>
                <a:srgbClr val="C62926"/>
              </a:solidFill>
            </p:grpSpPr>
            <p:sp>
              <p:nvSpPr>
                <p:cNvPr id="396" name="Freeform 395"/>
                <p:cNvSpPr/>
                <p:nvPr/>
              </p:nvSpPr>
              <p:spPr>
                <a:xfrm>
                  <a:off x="2195244" y="1561982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97" name="Freeform 396"/>
                <p:cNvSpPr/>
                <p:nvPr/>
              </p:nvSpPr>
              <p:spPr>
                <a:xfrm>
                  <a:off x="2195244" y="2011794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  <p:sp>
              <p:nvSpPr>
                <p:cNvPr id="398" name="Freeform 397"/>
                <p:cNvSpPr/>
                <p:nvPr/>
              </p:nvSpPr>
              <p:spPr>
                <a:xfrm>
                  <a:off x="2195244" y="2461606"/>
                  <a:ext cx="2577450" cy="759777"/>
                </a:xfrm>
                <a:custGeom>
                  <a:avLst/>
                  <a:gdLst>
                    <a:gd name="connsiteX0" fmla="*/ 31058 w 3676650"/>
                    <a:gd name="connsiteY0" fmla="*/ 0 h 1083799"/>
                    <a:gd name="connsiteX1" fmla="*/ 104621 w 3676650"/>
                    <a:gd name="connsiteY1" fmla="*/ 78935 h 1083799"/>
                    <a:gd name="connsiteX2" fmla="*/ 1838325 w 3676650"/>
                    <a:gd name="connsiteY2" fmla="*/ 612310 h 1083799"/>
                    <a:gd name="connsiteX3" fmla="*/ 3572030 w 3676650"/>
                    <a:gd name="connsiteY3" fmla="*/ 78935 h 1083799"/>
                    <a:gd name="connsiteX4" fmla="*/ 3645592 w 3676650"/>
                    <a:gd name="connsiteY4" fmla="*/ 0 h 1083799"/>
                    <a:gd name="connsiteX5" fmla="*/ 3667159 w 3676650"/>
                    <a:gd name="connsiteY5" fmla="*/ 70657 h 1083799"/>
                    <a:gd name="connsiteX6" fmla="*/ 3676650 w 3676650"/>
                    <a:gd name="connsiteY6" fmla="*/ 164636 h 1083799"/>
                    <a:gd name="connsiteX7" fmla="*/ 1838325 w 3676650"/>
                    <a:gd name="connsiteY7" fmla="*/ 1083799 h 1083799"/>
                    <a:gd name="connsiteX8" fmla="*/ 0 w 3676650"/>
                    <a:gd name="connsiteY8" fmla="*/ 164636 h 1083799"/>
                    <a:gd name="connsiteX9" fmla="*/ 9491 w 3676650"/>
                    <a:gd name="connsiteY9" fmla="*/ 70657 h 10837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676650" h="1083799">
                      <a:moveTo>
                        <a:pt x="31058" y="0"/>
                      </a:moveTo>
                      <a:lnTo>
                        <a:pt x="104621" y="78935"/>
                      </a:lnTo>
                      <a:cubicBezTo>
                        <a:pt x="438503" y="396637"/>
                        <a:pt x="1089689" y="612310"/>
                        <a:pt x="1838325" y="612310"/>
                      </a:cubicBezTo>
                      <a:cubicBezTo>
                        <a:pt x="2586962" y="612310"/>
                        <a:pt x="3238148" y="396637"/>
                        <a:pt x="3572030" y="78935"/>
                      </a:cubicBezTo>
                      <a:lnTo>
                        <a:pt x="3645592" y="0"/>
                      </a:lnTo>
                      <a:lnTo>
                        <a:pt x="3667159" y="70657"/>
                      </a:lnTo>
                      <a:cubicBezTo>
                        <a:pt x="3673435" y="101557"/>
                        <a:pt x="3676650" y="132909"/>
                        <a:pt x="3676650" y="164636"/>
                      </a:cubicBezTo>
                      <a:cubicBezTo>
                        <a:pt x="3676650" y="672276"/>
                        <a:pt x="2853604" y="1083799"/>
                        <a:pt x="1838325" y="1083799"/>
                      </a:cubicBezTo>
                      <a:cubicBezTo>
                        <a:pt x="823046" y="1083799"/>
                        <a:pt x="0" y="672276"/>
                        <a:pt x="0" y="164636"/>
                      </a:cubicBezTo>
                      <a:cubicBezTo>
                        <a:pt x="0" y="132909"/>
                        <a:pt x="3215" y="101557"/>
                        <a:pt x="9491" y="70657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350">
                    <a:solidFill>
                      <a:prstClr val="white"/>
                    </a:solidFill>
                    <a:latin typeface="Century Gothic"/>
                    <a:cs typeface="Century Gothic"/>
                  </a:endParaRPr>
                </a:p>
              </p:txBody>
            </p:sp>
          </p:grpSp>
        </p:grpSp>
      </p:grpSp>
      <p:pic>
        <p:nvPicPr>
          <p:cNvPr id="2" name="Paveikslėlis 1" descr="Paveikslėlis, kuriame yra tekstas, ekrano kopija, Šriftas, logotipas&#10;&#10;Automatiškai sugeneruotas aprašymas">
            <a:extLst>
              <a:ext uri="{FF2B5EF4-FFF2-40B4-BE49-F238E27FC236}">
                <a16:creationId xmlns:a16="http://schemas.microsoft.com/office/drawing/2014/main" id="{57352BD6-4E63-A5E1-9E38-8E719413C4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22406"/>
            <a:ext cx="2077720" cy="146685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44522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3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900" decel="100000" fill="hold"/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2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37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900" decel="100000" fill="hold"/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900"/>
                            </p:stCondLst>
                            <p:childTnLst>
                              <p:par>
                                <p:cTn id="3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1500"/>
                                        <p:tgtEl>
                                          <p:spTgt spid="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600"/>
                                        <p:tgtEl>
                                          <p:spTgt spid="2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16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600"/>
                                        <p:tgtEl>
                                          <p:spTgt spid="2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16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4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600"/>
                                        <p:tgtEl>
                                          <p:spTgt spid="2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4" dur="16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3" grpId="0"/>
      <p:bldP spid="127" grpId="0"/>
      <p:bldP spid="12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81001" y="209552"/>
            <a:ext cx="8368364" cy="495383"/>
          </a:xfrm>
        </p:spPr>
        <p:txBody>
          <a:bodyPr/>
          <a:lstStyle/>
          <a:p>
            <a:pPr algn="ctr"/>
            <a:r>
              <a:rPr lang="en-GB" sz="2400" b="1" dirty="0">
                <a:solidFill>
                  <a:schemeClr val="tx1"/>
                </a:solidFill>
                <a:latin typeface="Century Gothic" panose="020B0502020202020204" pitchFamily="34" charset="0"/>
                <a:cs typeface="Cambria"/>
              </a:rPr>
              <a:t>Who we are?</a:t>
            </a:r>
            <a:endParaRPr lang="en-GB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2C765B9-F89C-41A9-BEAA-14C4C803D1A4}"/>
              </a:ext>
            </a:extLst>
          </p:cNvPr>
          <p:cNvGrpSpPr/>
          <p:nvPr/>
        </p:nvGrpSpPr>
        <p:grpSpPr>
          <a:xfrm>
            <a:off x="4666731" y="1704173"/>
            <a:ext cx="4058171" cy="903327"/>
            <a:chOff x="4666729" y="1704171"/>
            <a:chExt cx="4058171" cy="903327"/>
          </a:xfrm>
        </p:grpSpPr>
        <p:sp>
          <p:nvSpPr>
            <p:cNvPr id="31" name="Freeform 25"/>
            <p:cNvSpPr>
              <a:spLocks/>
            </p:cNvSpPr>
            <p:nvPr/>
          </p:nvSpPr>
          <p:spPr bwMode="auto">
            <a:xfrm>
              <a:off x="4666729" y="1704171"/>
              <a:ext cx="1412244" cy="903327"/>
            </a:xfrm>
            <a:custGeom>
              <a:avLst/>
              <a:gdLst>
                <a:gd name="T0" fmla="*/ 0 w 1005"/>
                <a:gd name="T1" fmla="*/ 397 h 397"/>
                <a:gd name="T2" fmla="*/ 1005 w 1005"/>
                <a:gd name="T3" fmla="*/ 229 h 397"/>
                <a:gd name="T4" fmla="*/ 1005 w 1005"/>
                <a:gd name="T5" fmla="*/ 0 h 397"/>
                <a:gd name="T6" fmla="*/ 0 w 1005"/>
                <a:gd name="T7" fmla="*/ 337 h 397"/>
                <a:gd name="T8" fmla="*/ 0 w 1005"/>
                <a:gd name="T9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397">
                  <a:moveTo>
                    <a:pt x="0" y="397"/>
                  </a:moveTo>
                  <a:lnTo>
                    <a:pt x="1005" y="229"/>
                  </a:lnTo>
                  <a:lnTo>
                    <a:pt x="1005" y="0"/>
                  </a:lnTo>
                  <a:lnTo>
                    <a:pt x="0" y="337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795964B5-2FDF-4B56-AEE1-2B9494394FC8}"/>
                </a:ext>
              </a:extLst>
            </p:cNvPr>
            <p:cNvGrpSpPr/>
            <p:nvPr/>
          </p:nvGrpSpPr>
          <p:grpSpPr>
            <a:xfrm>
              <a:off x="4666729" y="1704171"/>
              <a:ext cx="4058171" cy="903327"/>
              <a:chOff x="4666729" y="1704171"/>
              <a:chExt cx="4058171" cy="903327"/>
            </a:xfrm>
          </p:grpSpPr>
          <p:sp>
            <p:nvSpPr>
              <p:cNvPr id="28" name="Freeform 23"/>
              <p:cNvSpPr>
                <a:spLocks/>
              </p:cNvSpPr>
              <p:nvPr/>
            </p:nvSpPr>
            <p:spPr bwMode="auto">
              <a:xfrm>
                <a:off x="6078973" y="1704171"/>
                <a:ext cx="2645927" cy="521063"/>
              </a:xfrm>
              <a:custGeom>
                <a:avLst/>
                <a:gdLst>
                  <a:gd name="T0" fmla="*/ 0 w 1304"/>
                  <a:gd name="T1" fmla="*/ 0 h 229"/>
                  <a:gd name="T2" fmla="*/ 1188 w 1304"/>
                  <a:gd name="T3" fmla="*/ 0 h 229"/>
                  <a:gd name="T4" fmla="*/ 1304 w 1304"/>
                  <a:gd name="T5" fmla="*/ 114 h 229"/>
                  <a:gd name="T6" fmla="*/ 1188 w 1304"/>
                  <a:gd name="T7" fmla="*/ 229 h 229"/>
                  <a:gd name="T8" fmla="*/ 0 w 1304"/>
                  <a:gd name="T9" fmla="*/ 229 h 229"/>
                  <a:gd name="T10" fmla="*/ 0 w 1304"/>
                  <a:gd name="T11" fmla="*/ 0 h 229"/>
                  <a:gd name="T12" fmla="*/ 0 w 1304"/>
                  <a:gd name="T13" fmla="*/ 0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4" h="229">
                    <a:moveTo>
                      <a:pt x="0" y="0"/>
                    </a:moveTo>
                    <a:lnTo>
                      <a:pt x="1188" y="0"/>
                    </a:lnTo>
                    <a:lnTo>
                      <a:pt x="1304" y="114"/>
                    </a:lnTo>
                    <a:lnTo>
                      <a:pt x="1188" y="229"/>
                    </a:lnTo>
                    <a:lnTo>
                      <a:pt x="0" y="22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r>
                  <a:rPr lang="en-US" sz="1600" b="1" dirty="0">
                    <a:solidFill>
                      <a:prstClr val="black"/>
                    </a:solidFill>
                    <a:latin typeface="Calibri"/>
                  </a:rPr>
                  <a:t>14 master in law programs</a:t>
                </a:r>
              </a:p>
            </p:txBody>
          </p:sp>
          <p:sp>
            <p:nvSpPr>
              <p:cNvPr id="32" name="Freeform 26"/>
              <p:cNvSpPr>
                <a:spLocks/>
              </p:cNvSpPr>
              <p:nvPr/>
            </p:nvSpPr>
            <p:spPr bwMode="auto">
              <a:xfrm>
                <a:off x="4666729" y="1704171"/>
                <a:ext cx="1412244" cy="903327"/>
              </a:xfrm>
              <a:custGeom>
                <a:avLst/>
                <a:gdLst>
                  <a:gd name="T0" fmla="*/ 0 w 1005"/>
                  <a:gd name="T1" fmla="*/ 397 h 397"/>
                  <a:gd name="T2" fmla="*/ 1005 w 1005"/>
                  <a:gd name="T3" fmla="*/ 229 h 397"/>
                  <a:gd name="T4" fmla="*/ 1005 w 1005"/>
                  <a:gd name="T5" fmla="*/ 0 h 397"/>
                  <a:gd name="T6" fmla="*/ 0 w 1005"/>
                  <a:gd name="T7" fmla="*/ 337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5" h="397">
                    <a:moveTo>
                      <a:pt x="0" y="397"/>
                    </a:moveTo>
                    <a:lnTo>
                      <a:pt x="1005" y="229"/>
                    </a:lnTo>
                    <a:lnTo>
                      <a:pt x="1005" y="0"/>
                    </a:lnTo>
                    <a:lnTo>
                      <a:pt x="0" y="337"/>
                    </a:lnTo>
                  </a:path>
                </a:pathLst>
              </a:custGeom>
              <a:solidFill>
                <a:schemeClr val="accent2">
                  <a:alpha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>
                  <a:defRPr/>
                </a:pPr>
                <a:endParaRPr lang="en-US" sz="1100" dirty="0">
                  <a:solidFill>
                    <a:prstClr val="white"/>
                  </a:solidFill>
                  <a:latin typeface="Century Gothic"/>
                  <a:cs typeface="Century Gothic"/>
                </a:endParaRP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4D7EEB07-8D77-4EA0-B7B3-6AD5CB2DF36A}"/>
              </a:ext>
            </a:extLst>
          </p:cNvPr>
          <p:cNvGrpSpPr/>
          <p:nvPr/>
        </p:nvGrpSpPr>
        <p:grpSpPr>
          <a:xfrm>
            <a:off x="4666731" y="1123952"/>
            <a:ext cx="4058171" cy="1319721"/>
            <a:chOff x="4666729" y="1123950"/>
            <a:chExt cx="4058171" cy="1319721"/>
          </a:xfrm>
        </p:grpSpPr>
        <p:sp>
          <p:nvSpPr>
            <p:cNvPr id="25" name="Freeform 22"/>
            <p:cNvSpPr>
              <a:spLocks/>
            </p:cNvSpPr>
            <p:nvPr/>
          </p:nvSpPr>
          <p:spPr bwMode="auto">
            <a:xfrm>
              <a:off x="6078973" y="1123950"/>
              <a:ext cx="2645927" cy="521063"/>
            </a:xfrm>
            <a:custGeom>
              <a:avLst/>
              <a:gdLst>
                <a:gd name="T0" fmla="*/ 0 w 1304"/>
                <a:gd name="T1" fmla="*/ 0 h 229"/>
                <a:gd name="T2" fmla="*/ 1189 w 1304"/>
                <a:gd name="T3" fmla="*/ 0 h 229"/>
                <a:gd name="T4" fmla="*/ 1304 w 1304"/>
                <a:gd name="T5" fmla="*/ 114 h 229"/>
                <a:gd name="T6" fmla="*/ 1189 w 1304"/>
                <a:gd name="T7" fmla="*/ 229 h 229"/>
                <a:gd name="T8" fmla="*/ 0 w 1304"/>
                <a:gd name="T9" fmla="*/ 229 h 229"/>
                <a:gd name="T10" fmla="*/ 0 w 1304"/>
                <a:gd name="T11" fmla="*/ 0 h 229"/>
                <a:gd name="T12" fmla="*/ 0 w 13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29">
                  <a:moveTo>
                    <a:pt x="0" y="0"/>
                  </a:moveTo>
                  <a:lnTo>
                    <a:pt x="1189" y="0"/>
                  </a:lnTo>
                  <a:lnTo>
                    <a:pt x="1304" y="114"/>
                  </a:lnTo>
                  <a:lnTo>
                    <a:pt x="1189" y="229"/>
                  </a:lnTo>
                  <a:lnTo>
                    <a:pt x="0" y="22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6 bachelor in law programs</a:t>
              </a:r>
            </a:p>
          </p:txBody>
        </p:sp>
        <p:sp>
          <p:nvSpPr>
            <p:cNvPr id="33" name="Freeform 27"/>
            <p:cNvSpPr>
              <a:spLocks/>
            </p:cNvSpPr>
            <p:nvPr/>
          </p:nvSpPr>
          <p:spPr bwMode="auto">
            <a:xfrm>
              <a:off x="4666729" y="1123950"/>
              <a:ext cx="1412244" cy="1319721"/>
            </a:xfrm>
            <a:custGeom>
              <a:avLst/>
              <a:gdLst>
                <a:gd name="T0" fmla="*/ 1005 w 1005"/>
                <a:gd name="T1" fmla="*/ 0 h 580"/>
                <a:gd name="T2" fmla="*/ 0 w 1005"/>
                <a:gd name="T3" fmla="*/ 504 h 580"/>
                <a:gd name="T4" fmla="*/ 0 w 1005"/>
                <a:gd name="T5" fmla="*/ 580 h 580"/>
                <a:gd name="T6" fmla="*/ 1005 w 1005"/>
                <a:gd name="T7" fmla="*/ 229 h 580"/>
                <a:gd name="T8" fmla="*/ 1005 w 1005"/>
                <a:gd name="T9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580">
                  <a:moveTo>
                    <a:pt x="1005" y="0"/>
                  </a:moveTo>
                  <a:lnTo>
                    <a:pt x="0" y="504"/>
                  </a:lnTo>
                  <a:lnTo>
                    <a:pt x="0" y="580"/>
                  </a:lnTo>
                  <a:lnTo>
                    <a:pt x="1005" y="229"/>
                  </a:lnTo>
                  <a:lnTo>
                    <a:pt x="1005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3FCA7D47-9C22-4177-BA2D-A3C2F2A8DD29}"/>
              </a:ext>
            </a:extLst>
          </p:cNvPr>
          <p:cNvGrpSpPr/>
          <p:nvPr/>
        </p:nvGrpSpPr>
        <p:grpSpPr>
          <a:xfrm>
            <a:off x="4666731" y="2282120"/>
            <a:ext cx="4058171" cy="532439"/>
            <a:chOff x="4666729" y="2282118"/>
            <a:chExt cx="4058171" cy="532439"/>
          </a:xfrm>
        </p:grpSpPr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6078973" y="2282118"/>
              <a:ext cx="2645927" cy="525614"/>
            </a:xfrm>
            <a:custGeom>
              <a:avLst/>
              <a:gdLst>
                <a:gd name="T0" fmla="*/ 0 w 1304"/>
                <a:gd name="T1" fmla="*/ 0 h 231"/>
                <a:gd name="T2" fmla="*/ 1188 w 1304"/>
                <a:gd name="T3" fmla="*/ 0 h 231"/>
                <a:gd name="T4" fmla="*/ 1304 w 1304"/>
                <a:gd name="T5" fmla="*/ 115 h 231"/>
                <a:gd name="T6" fmla="*/ 1188 w 1304"/>
                <a:gd name="T7" fmla="*/ 231 h 231"/>
                <a:gd name="T8" fmla="*/ 0 w 1304"/>
                <a:gd name="T9" fmla="*/ 231 h 231"/>
                <a:gd name="T10" fmla="*/ 0 w 1304"/>
                <a:gd name="T11" fmla="*/ 0 h 231"/>
                <a:gd name="T12" fmla="*/ 0 w 1304"/>
                <a:gd name="T13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1">
                  <a:moveTo>
                    <a:pt x="0" y="0"/>
                  </a:moveTo>
                  <a:lnTo>
                    <a:pt x="1188" y="0"/>
                  </a:lnTo>
                  <a:lnTo>
                    <a:pt x="1304" y="115"/>
                  </a:lnTo>
                  <a:lnTo>
                    <a:pt x="1188" y="231"/>
                  </a:lnTo>
                  <a:lnTo>
                    <a:pt x="0" y="2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 6 master and 1 bachelor programs in English</a:t>
              </a:r>
            </a:p>
          </p:txBody>
        </p:sp>
        <p:sp>
          <p:nvSpPr>
            <p:cNvPr id="34" name="Freeform 28"/>
            <p:cNvSpPr>
              <a:spLocks/>
            </p:cNvSpPr>
            <p:nvPr/>
          </p:nvSpPr>
          <p:spPr bwMode="auto">
            <a:xfrm>
              <a:off x="4666729" y="2282118"/>
              <a:ext cx="1412244" cy="532439"/>
            </a:xfrm>
            <a:custGeom>
              <a:avLst/>
              <a:gdLst>
                <a:gd name="T0" fmla="*/ 1005 w 1005"/>
                <a:gd name="T1" fmla="*/ 0 h 234"/>
                <a:gd name="T2" fmla="*/ 0 w 1005"/>
                <a:gd name="T3" fmla="*/ 155 h 234"/>
                <a:gd name="T4" fmla="*/ 0 w 1005"/>
                <a:gd name="T5" fmla="*/ 234 h 234"/>
                <a:gd name="T6" fmla="*/ 1005 w 1005"/>
                <a:gd name="T7" fmla="*/ 231 h 234"/>
                <a:gd name="T8" fmla="*/ 1005 w 1005"/>
                <a:gd name="T9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4">
                  <a:moveTo>
                    <a:pt x="1005" y="0"/>
                  </a:moveTo>
                  <a:lnTo>
                    <a:pt x="0" y="155"/>
                  </a:lnTo>
                  <a:lnTo>
                    <a:pt x="0" y="234"/>
                  </a:lnTo>
                  <a:lnTo>
                    <a:pt x="1005" y="231"/>
                  </a:lnTo>
                  <a:lnTo>
                    <a:pt x="1005" y="0"/>
                  </a:lnTo>
                  <a:close/>
                </a:path>
              </a:pathLst>
            </a:custGeom>
            <a:solidFill>
              <a:schemeClr val="accent3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3EA2D56-1166-4B4E-B512-71C9BF27386B}"/>
              </a:ext>
            </a:extLst>
          </p:cNvPr>
          <p:cNvGrpSpPr/>
          <p:nvPr/>
        </p:nvGrpSpPr>
        <p:grpSpPr>
          <a:xfrm>
            <a:off x="4666731" y="3058025"/>
            <a:ext cx="4058171" cy="914703"/>
            <a:chOff x="4666729" y="3058024"/>
            <a:chExt cx="4058171" cy="914703"/>
          </a:xfrm>
        </p:grpSpPr>
        <p:sp>
          <p:nvSpPr>
            <p:cNvPr id="38" name="Freeform 32"/>
            <p:cNvSpPr>
              <a:spLocks/>
            </p:cNvSpPr>
            <p:nvPr/>
          </p:nvSpPr>
          <p:spPr bwMode="auto">
            <a:xfrm>
              <a:off x="4666729" y="3058024"/>
              <a:ext cx="1412244" cy="914703"/>
            </a:xfrm>
            <a:custGeom>
              <a:avLst/>
              <a:gdLst>
                <a:gd name="T0" fmla="*/ 0 w 1005"/>
                <a:gd name="T1" fmla="*/ 0 h 402"/>
                <a:gd name="T2" fmla="*/ 1005 w 1005"/>
                <a:gd name="T3" fmla="*/ 172 h 402"/>
                <a:gd name="T4" fmla="*/ 1005 w 1005"/>
                <a:gd name="T5" fmla="*/ 402 h 402"/>
                <a:gd name="T6" fmla="*/ 0 w 1005"/>
                <a:gd name="T7" fmla="*/ 61 h 402"/>
                <a:gd name="T8" fmla="*/ 0 w 100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402">
                  <a:moveTo>
                    <a:pt x="0" y="0"/>
                  </a:moveTo>
                  <a:lnTo>
                    <a:pt x="1005" y="172"/>
                  </a:lnTo>
                  <a:lnTo>
                    <a:pt x="1005" y="402"/>
                  </a:ln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13F777D-1490-41C9-ACFE-0518B1EEB5FE}"/>
                </a:ext>
              </a:extLst>
            </p:cNvPr>
            <p:cNvGrpSpPr/>
            <p:nvPr/>
          </p:nvGrpSpPr>
          <p:grpSpPr>
            <a:xfrm>
              <a:off x="4666729" y="3058024"/>
              <a:ext cx="4058171" cy="914703"/>
              <a:chOff x="4666729" y="3058024"/>
              <a:chExt cx="4058171" cy="914703"/>
            </a:xfrm>
          </p:grpSpPr>
          <p:sp>
            <p:nvSpPr>
              <p:cNvPr id="36" name="Freeform 30"/>
              <p:cNvSpPr>
                <a:spLocks/>
              </p:cNvSpPr>
              <p:nvPr/>
            </p:nvSpPr>
            <p:spPr bwMode="auto">
              <a:xfrm>
                <a:off x="6078973" y="3449389"/>
                <a:ext cx="2645927" cy="523338"/>
              </a:xfrm>
              <a:custGeom>
                <a:avLst/>
                <a:gdLst>
                  <a:gd name="T0" fmla="*/ 0 w 1304"/>
                  <a:gd name="T1" fmla="*/ 230 h 230"/>
                  <a:gd name="T2" fmla="*/ 1188 w 1304"/>
                  <a:gd name="T3" fmla="*/ 230 h 230"/>
                  <a:gd name="T4" fmla="*/ 1304 w 1304"/>
                  <a:gd name="T5" fmla="*/ 115 h 230"/>
                  <a:gd name="T6" fmla="*/ 1188 w 1304"/>
                  <a:gd name="T7" fmla="*/ 0 h 230"/>
                  <a:gd name="T8" fmla="*/ 0 w 1304"/>
                  <a:gd name="T9" fmla="*/ 0 h 230"/>
                  <a:gd name="T10" fmla="*/ 0 w 1304"/>
                  <a:gd name="T11" fmla="*/ 230 h 230"/>
                  <a:gd name="T12" fmla="*/ 0 w 1304"/>
                  <a:gd name="T13" fmla="*/ 230 h 2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04" h="230">
                    <a:moveTo>
                      <a:pt x="0" y="230"/>
                    </a:moveTo>
                    <a:lnTo>
                      <a:pt x="1188" y="230"/>
                    </a:lnTo>
                    <a:lnTo>
                      <a:pt x="1304" y="115"/>
                    </a:lnTo>
                    <a:lnTo>
                      <a:pt x="1188" y="0"/>
                    </a:lnTo>
                    <a:lnTo>
                      <a:pt x="0" y="0"/>
                    </a:lnTo>
                    <a:lnTo>
                      <a:pt x="0" y="230"/>
                    </a:lnTo>
                    <a:lnTo>
                      <a:pt x="0" y="230"/>
                    </a:lnTo>
                    <a:close/>
                  </a:path>
                </a:pathLst>
              </a:custGeom>
              <a:solidFill>
                <a:srgbClr val="FF0000"/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defTabSz="914378">
                  <a:defRPr/>
                </a:pPr>
                <a:r>
                  <a:rPr lang="en-US" sz="1600" b="1" dirty="0">
                    <a:solidFill>
                      <a:prstClr val="black"/>
                    </a:solidFill>
                    <a:latin typeface="Calibri"/>
                  </a:rPr>
                  <a:t>~50 courses in English for exchange students</a:t>
                </a:r>
              </a:p>
            </p:txBody>
          </p:sp>
          <p:sp>
            <p:nvSpPr>
              <p:cNvPr id="39" name="Freeform 33"/>
              <p:cNvSpPr>
                <a:spLocks/>
              </p:cNvSpPr>
              <p:nvPr/>
            </p:nvSpPr>
            <p:spPr bwMode="auto">
              <a:xfrm>
                <a:off x="4666729" y="3058024"/>
                <a:ext cx="1412244" cy="914703"/>
              </a:xfrm>
              <a:custGeom>
                <a:avLst/>
                <a:gdLst>
                  <a:gd name="T0" fmla="*/ 0 w 1005"/>
                  <a:gd name="T1" fmla="*/ 0 h 402"/>
                  <a:gd name="T2" fmla="*/ 1005 w 1005"/>
                  <a:gd name="T3" fmla="*/ 172 h 402"/>
                  <a:gd name="T4" fmla="*/ 1005 w 1005"/>
                  <a:gd name="T5" fmla="*/ 402 h 402"/>
                  <a:gd name="T6" fmla="*/ 0 w 1005"/>
                  <a:gd name="T7" fmla="*/ 61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05" h="402">
                    <a:moveTo>
                      <a:pt x="0" y="0"/>
                    </a:moveTo>
                    <a:lnTo>
                      <a:pt x="1005" y="172"/>
                    </a:lnTo>
                    <a:lnTo>
                      <a:pt x="1005" y="402"/>
                    </a:lnTo>
                    <a:lnTo>
                      <a:pt x="0" y="61"/>
                    </a:lnTo>
                  </a:path>
                </a:pathLst>
              </a:custGeom>
              <a:solidFill>
                <a:srgbClr val="C00000">
                  <a:alpha val="8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</a:bodyPr>
              <a:lstStyle/>
              <a:p>
                <a:pPr algn="ctr" defTabSz="914378">
                  <a:defRPr/>
                </a:pPr>
                <a:endParaRPr lang="en-US" sz="1100" dirty="0">
                  <a:solidFill>
                    <a:prstClr val="white"/>
                  </a:solidFill>
                  <a:latin typeface="Century Gothic"/>
                  <a:cs typeface="Century Gothic"/>
                </a:endParaRPr>
              </a:p>
            </p:txBody>
          </p:sp>
        </p:grp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D0D8FC3-7571-4F75-BB6E-909EFEE900E3}"/>
              </a:ext>
            </a:extLst>
          </p:cNvPr>
          <p:cNvGrpSpPr/>
          <p:nvPr/>
        </p:nvGrpSpPr>
        <p:grpSpPr>
          <a:xfrm>
            <a:off x="4666731" y="3226402"/>
            <a:ext cx="4058171" cy="1326548"/>
            <a:chOff x="4666729" y="3226402"/>
            <a:chExt cx="4058171" cy="1326548"/>
          </a:xfrm>
        </p:grpSpPr>
        <p:sp>
          <p:nvSpPr>
            <p:cNvPr id="35" name="Freeform 29"/>
            <p:cNvSpPr>
              <a:spLocks/>
            </p:cNvSpPr>
            <p:nvPr/>
          </p:nvSpPr>
          <p:spPr bwMode="auto">
            <a:xfrm>
              <a:off x="6078973" y="4029611"/>
              <a:ext cx="2645927" cy="523338"/>
            </a:xfrm>
            <a:custGeom>
              <a:avLst/>
              <a:gdLst>
                <a:gd name="T0" fmla="*/ 0 w 1304"/>
                <a:gd name="T1" fmla="*/ 230 h 230"/>
                <a:gd name="T2" fmla="*/ 1189 w 1304"/>
                <a:gd name="T3" fmla="*/ 230 h 230"/>
                <a:gd name="T4" fmla="*/ 1304 w 1304"/>
                <a:gd name="T5" fmla="*/ 115 h 230"/>
                <a:gd name="T6" fmla="*/ 1189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9" y="230"/>
                  </a:lnTo>
                  <a:lnTo>
                    <a:pt x="1304" y="115"/>
                  </a:lnTo>
                  <a:lnTo>
                    <a:pt x="118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Top experts of law</a:t>
              </a:r>
            </a:p>
          </p:txBody>
        </p:sp>
        <p:sp>
          <p:nvSpPr>
            <p:cNvPr id="40" name="Freeform 34"/>
            <p:cNvSpPr>
              <a:spLocks/>
            </p:cNvSpPr>
            <p:nvPr/>
          </p:nvSpPr>
          <p:spPr bwMode="auto">
            <a:xfrm>
              <a:off x="4666729" y="3226402"/>
              <a:ext cx="1412244" cy="1326548"/>
            </a:xfrm>
            <a:custGeom>
              <a:avLst/>
              <a:gdLst>
                <a:gd name="T0" fmla="*/ 1005 w 1005"/>
                <a:gd name="T1" fmla="*/ 583 h 583"/>
                <a:gd name="T2" fmla="*/ 0 w 1005"/>
                <a:gd name="T3" fmla="*/ 76 h 583"/>
                <a:gd name="T4" fmla="*/ 0 w 1005"/>
                <a:gd name="T5" fmla="*/ 0 h 583"/>
                <a:gd name="T6" fmla="*/ 1005 w 1005"/>
                <a:gd name="T7" fmla="*/ 353 h 583"/>
                <a:gd name="T8" fmla="*/ 1005 w 1005"/>
                <a:gd name="T9" fmla="*/ 583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583">
                  <a:moveTo>
                    <a:pt x="1005" y="583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05" y="353"/>
                  </a:lnTo>
                  <a:lnTo>
                    <a:pt x="1005" y="583"/>
                  </a:lnTo>
                  <a:close/>
                </a:path>
              </a:pathLst>
            </a:custGeom>
            <a:solidFill>
              <a:schemeClr val="accent6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4841098-8E8E-42B3-9D9A-703D0074E26B}"/>
              </a:ext>
            </a:extLst>
          </p:cNvPr>
          <p:cNvGrpSpPr/>
          <p:nvPr/>
        </p:nvGrpSpPr>
        <p:grpSpPr>
          <a:xfrm>
            <a:off x="4666731" y="2855516"/>
            <a:ext cx="4058171" cy="536991"/>
            <a:chOff x="4666729" y="2855514"/>
            <a:chExt cx="4058171" cy="536991"/>
          </a:xfrm>
        </p:grpSpPr>
        <p:sp>
          <p:nvSpPr>
            <p:cNvPr id="37" name="Freeform 31"/>
            <p:cNvSpPr>
              <a:spLocks/>
            </p:cNvSpPr>
            <p:nvPr/>
          </p:nvSpPr>
          <p:spPr bwMode="auto">
            <a:xfrm>
              <a:off x="6078973" y="2869167"/>
              <a:ext cx="2645927" cy="523338"/>
            </a:xfrm>
            <a:custGeom>
              <a:avLst/>
              <a:gdLst>
                <a:gd name="T0" fmla="*/ 0 w 1304"/>
                <a:gd name="T1" fmla="*/ 230 h 230"/>
                <a:gd name="T2" fmla="*/ 1188 w 1304"/>
                <a:gd name="T3" fmla="*/ 230 h 230"/>
                <a:gd name="T4" fmla="*/ 1304 w 1304"/>
                <a:gd name="T5" fmla="*/ 115 h 230"/>
                <a:gd name="T6" fmla="*/ 1188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8" y="230"/>
                  </a:lnTo>
                  <a:lnTo>
                    <a:pt x="1304" y="115"/>
                  </a:lnTo>
                  <a:lnTo>
                    <a:pt x="1188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5 LLM programs for practitioners</a:t>
              </a:r>
            </a:p>
          </p:txBody>
        </p:sp>
        <p:sp>
          <p:nvSpPr>
            <p:cNvPr id="41" name="Freeform 35"/>
            <p:cNvSpPr>
              <a:spLocks/>
            </p:cNvSpPr>
            <p:nvPr/>
          </p:nvSpPr>
          <p:spPr bwMode="auto">
            <a:xfrm>
              <a:off x="4666729" y="2855514"/>
              <a:ext cx="1412244" cy="536990"/>
            </a:xfrm>
            <a:custGeom>
              <a:avLst/>
              <a:gdLst>
                <a:gd name="T0" fmla="*/ 1005 w 1005"/>
                <a:gd name="T1" fmla="*/ 236 h 236"/>
                <a:gd name="T2" fmla="*/ 0 w 1005"/>
                <a:gd name="T3" fmla="*/ 79 h 236"/>
                <a:gd name="T4" fmla="*/ 0 w 1005"/>
                <a:gd name="T5" fmla="*/ 0 h 236"/>
                <a:gd name="T6" fmla="*/ 1005 w 1005"/>
                <a:gd name="T7" fmla="*/ 6 h 236"/>
                <a:gd name="T8" fmla="*/ 1005 w 1005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6">
                  <a:moveTo>
                    <a:pt x="1005" y="236"/>
                  </a:moveTo>
                  <a:lnTo>
                    <a:pt x="0" y="79"/>
                  </a:lnTo>
                  <a:lnTo>
                    <a:pt x="0" y="0"/>
                  </a:lnTo>
                  <a:lnTo>
                    <a:pt x="1005" y="6"/>
                  </a:lnTo>
                  <a:lnTo>
                    <a:pt x="1005" y="236"/>
                  </a:lnTo>
                  <a:close/>
                </a:path>
              </a:pathLst>
            </a:custGeom>
            <a:solidFill>
              <a:schemeClr val="accent4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2FFD777-9C4C-4C32-BC56-0F31BBD8DB72}"/>
              </a:ext>
            </a:extLst>
          </p:cNvPr>
          <p:cNvGrpSpPr/>
          <p:nvPr/>
        </p:nvGrpSpPr>
        <p:grpSpPr>
          <a:xfrm>
            <a:off x="409056" y="1704173"/>
            <a:ext cx="4058171" cy="903327"/>
            <a:chOff x="409054" y="1704171"/>
            <a:chExt cx="4058171" cy="903327"/>
          </a:xfrm>
        </p:grpSpPr>
        <p:sp>
          <p:nvSpPr>
            <p:cNvPr id="226" name="Freeform 23"/>
            <p:cNvSpPr>
              <a:spLocks/>
            </p:cNvSpPr>
            <p:nvPr/>
          </p:nvSpPr>
          <p:spPr bwMode="auto">
            <a:xfrm flipH="1">
              <a:off x="409054" y="1704171"/>
              <a:ext cx="2645927" cy="521063"/>
            </a:xfrm>
            <a:custGeom>
              <a:avLst/>
              <a:gdLst>
                <a:gd name="T0" fmla="*/ 0 w 1304"/>
                <a:gd name="T1" fmla="*/ 0 h 229"/>
                <a:gd name="T2" fmla="*/ 1188 w 1304"/>
                <a:gd name="T3" fmla="*/ 0 h 229"/>
                <a:gd name="T4" fmla="*/ 1304 w 1304"/>
                <a:gd name="T5" fmla="*/ 114 h 229"/>
                <a:gd name="T6" fmla="*/ 1188 w 1304"/>
                <a:gd name="T7" fmla="*/ 229 h 229"/>
                <a:gd name="T8" fmla="*/ 0 w 1304"/>
                <a:gd name="T9" fmla="*/ 229 h 229"/>
                <a:gd name="T10" fmla="*/ 0 w 1304"/>
                <a:gd name="T11" fmla="*/ 0 h 229"/>
                <a:gd name="T12" fmla="*/ 0 w 13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29">
                  <a:moveTo>
                    <a:pt x="0" y="0"/>
                  </a:moveTo>
                  <a:lnTo>
                    <a:pt x="1188" y="0"/>
                  </a:lnTo>
                  <a:lnTo>
                    <a:pt x="1304" y="114"/>
                  </a:lnTo>
                  <a:lnTo>
                    <a:pt x="1188" y="229"/>
                  </a:lnTo>
                  <a:lnTo>
                    <a:pt x="0" y="22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indent="130969"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300 law graduates annum</a:t>
              </a:r>
            </a:p>
          </p:txBody>
        </p:sp>
        <p:sp>
          <p:nvSpPr>
            <p:cNvPr id="232" name="Freeform 25"/>
            <p:cNvSpPr>
              <a:spLocks/>
            </p:cNvSpPr>
            <p:nvPr/>
          </p:nvSpPr>
          <p:spPr bwMode="auto">
            <a:xfrm flipH="1">
              <a:off x="3054981" y="1704171"/>
              <a:ext cx="1412244" cy="903327"/>
            </a:xfrm>
            <a:custGeom>
              <a:avLst/>
              <a:gdLst>
                <a:gd name="T0" fmla="*/ 0 w 1005"/>
                <a:gd name="T1" fmla="*/ 397 h 397"/>
                <a:gd name="T2" fmla="*/ 1005 w 1005"/>
                <a:gd name="T3" fmla="*/ 229 h 397"/>
                <a:gd name="T4" fmla="*/ 1005 w 1005"/>
                <a:gd name="T5" fmla="*/ 0 h 397"/>
                <a:gd name="T6" fmla="*/ 0 w 1005"/>
                <a:gd name="T7" fmla="*/ 337 h 397"/>
                <a:gd name="T8" fmla="*/ 0 w 1005"/>
                <a:gd name="T9" fmla="*/ 39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397">
                  <a:moveTo>
                    <a:pt x="0" y="397"/>
                  </a:moveTo>
                  <a:lnTo>
                    <a:pt x="1005" y="229"/>
                  </a:lnTo>
                  <a:lnTo>
                    <a:pt x="1005" y="0"/>
                  </a:lnTo>
                  <a:lnTo>
                    <a:pt x="0" y="337"/>
                  </a:lnTo>
                  <a:lnTo>
                    <a:pt x="0" y="397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  <p:sp>
          <p:nvSpPr>
            <p:cNvPr id="233" name="Freeform 26"/>
            <p:cNvSpPr>
              <a:spLocks/>
            </p:cNvSpPr>
            <p:nvPr/>
          </p:nvSpPr>
          <p:spPr bwMode="auto">
            <a:xfrm flipH="1">
              <a:off x="3054981" y="1704171"/>
              <a:ext cx="1412244" cy="903327"/>
            </a:xfrm>
            <a:custGeom>
              <a:avLst/>
              <a:gdLst>
                <a:gd name="T0" fmla="*/ 0 w 1005"/>
                <a:gd name="T1" fmla="*/ 397 h 397"/>
                <a:gd name="T2" fmla="*/ 1005 w 1005"/>
                <a:gd name="T3" fmla="*/ 229 h 397"/>
                <a:gd name="T4" fmla="*/ 1005 w 1005"/>
                <a:gd name="T5" fmla="*/ 0 h 397"/>
                <a:gd name="T6" fmla="*/ 0 w 1005"/>
                <a:gd name="T7" fmla="*/ 337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5" h="397">
                  <a:moveTo>
                    <a:pt x="0" y="397"/>
                  </a:moveTo>
                  <a:lnTo>
                    <a:pt x="1005" y="229"/>
                  </a:lnTo>
                  <a:lnTo>
                    <a:pt x="1005" y="0"/>
                  </a:lnTo>
                  <a:lnTo>
                    <a:pt x="0" y="337"/>
                  </a:lnTo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A882C3E-FDA8-4B7F-A8EF-F1312EBFC1AB}"/>
              </a:ext>
            </a:extLst>
          </p:cNvPr>
          <p:cNvGrpSpPr/>
          <p:nvPr/>
        </p:nvGrpSpPr>
        <p:grpSpPr>
          <a:xfrm>
            <a:off x="409056" y="1123952"/>
            <a:ext cx="4058171" cy="1319723"/>
            <a:chOff x="409054" y="1123949"/>
            <a:chExt cx="4058171" cy="1319722"/>
          </a:xfrm>
        </p:grpSpPr>
        <p:sp>
          <p:nvSpPr>
            <p:cNvPr id="225" name="Freeform 22"/>
            <p:cNvSpPr>
              <a:spLocks/>
            </p:cNvSpPr>
            <p:nvPr/>
          </p:nvSpPr>
          <p:spPr bwMode="auto">
            <a:xfrm flipH="1">
              <a:off x="409054" y="1123949"/>
              <a:ext cx="2645927" cy="521063"/>
            </a:xfrm>
            <a:custGeom>
              <a:avLst/>
              <a:gdLst>
                <a:gd name="T0" fmla="*/ 0 w 1304"/>
                <a:gd name="T1" fmla="*/ 0 h 229"/>
                <a:gd name="T2" fmla="*/ 1189 w 1304"/>
                <a:gd name="T3" fmla="*/ 0 h 229"/>
                <a:gd name="T4" fmla="*/ 1304 w 1304"/>
                <a:gd name="T5" fmla="*/ 114 h 229"/>
                <a:gd name="T6" fmla="*/ 1189 w 1304"/>
                <a:gd name="T7" fmla="*/ 229 h 229"/>
                <a:gd name="T8" fmla="*/ 0 w 1304"/>
                <a:gd name="T9" fmla="*/ 229 h 229"/>
                <a:gd name="T10" fmla="*/ 0 w 1304"/>
                <a:gd name="T11" fmla="*/ 0 h 229"/>
                <a:gd name="T12" fmla="*/ 0 w 1304"/>
                <a:gd name="T1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29">
                  <a:moveTo>
                    <a:pt x="0" y="0"/>
                  </a:moveTo>
                  <a:lnTo>
                    <a:pt x="1189" y="0"/>
                  </a:lnTo>
                  <a:lnTo>
                    <a:pt x="1304" y="114"/>
                  </a:lnTo>
                  <a:lnTo>
                    <a:pt x="1189" y="229"/>
                  </a:lnTo>
                  <a:lnTo>
                    <a:pt x="0" y="229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indent="130969"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2000 law students</a:t>
              </a:r>
            </a:p>
          </p:txBody>
        </p:sp>
        <p:sp>
          <p:nvSpPr>
            <p:cNvPr id="234" name="Freeform 27"/>
            <p:cNvSpPr>
              <a:spLocks/>
            </p:cNvSpPr>
            <p:nvPr/>
          </p:nvSpPr>
          <p:spPr bwMode="auto">
            <a:xfrm flipH="1">
              <a:off x="3054981" y="1123950"/>
              <a:ext cx="1412244" cy="1319721"/>
            </a:xfrm>
            <a:custGeom>
              <a:avLst/>
              <a:gdLst>
                <a:gd name="T0" fmla="*/ 1005 w 1005"/>
                <a:gd name="T1" fmla="*/ 0 h 580"/>
                <a:gd name="T2" fmla="*/ 0 w 1005"/>
                <a:gd name="T3" fmla="*/ 504 h 580"/>
                <a:gd name="T4" fmla="*/ 0 w 1005"/>
                <a:gd name="T5" fmla="*/ 580 h 580"/>
                <a:gd name="T6" fmla="*/ 1005 w 1005"/>
                <a:gd name="T7" fmla="*/ 229 h 580"/>
                <a:gd name="T8" fmla="*/ 1005 w 1005"/>
                <a:gd name="T9" fmla="*/ 0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580">
                  <a:moveTo>
                    <a:pt x="1005" y="0"/>
                  </a:moveTo>
                  <a:lnTo>
                    <a:pt x="0" y="504"/>
                  </a:lnTo>
                  <a:lnTo>
                    <a:pt x="0" y="580"/>
                  </a:lnTo>
                  <a:lnTo>
                    <a:pt x="1005" y="229"/>
                  </a:lnTo>
                  <a:lnTo>
                    <a:pt x="1005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2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8B668F1-64A9-4DD4-B7DE-E0F908C542C0}"/>
              </a:ext>
            </a:extLst>
          </p:cNvPr>
          <p:cNvGrpSpPr/>
          <p:nvPr/>
        </p:nvGrpSpPr>
        <p:grpSpPr>
          <a:xfrm>
            <a:off x="381001" y="2282120"/>
            <a:ext cx="4086226" cy="532439"/>
            <a:chOff x="409054" y="2282118"/>
            <a:chExt cx="4058171" cy="532439"/>
          </a:xfrm>
        </p:grpSpPr>
        <p:sp>
          <p:nvSpPr>
            <p:cNvPr id="227" name="Freeform 24"/>
            <p:cNvSpPr>
              <a:spLocks/>
            </p:cNvSpPr>
            <p:nvPr/>
          </p:nvSpPr>
          <p:spPr bwMode="auto">
            <a:xfrm flipH="1">
              <a:off x="409054" y="2282118"/>
              <a:ext cx="2809553" cy="525614"/>
            </a:xfrm>
            <a:custGeom>
              <a:avLst/>
              <a:gdLst>
                <a:gd name="T0" fmla="*/ 0 w 1304"/>
                <a:gd name="T1" fmla="*/ 0 h 231"/>
                <a:gd name="T2" fmla="*/ 1188 w 1304"/>
                <a:gd name="T3" fmla="*/ 0 h 231"/>
                <a:gd name="T4" fmla="*/ 1304 w 1304"/>
                <a:gd name="T5" fmla="*/ 115 h 231"/>
                <a:gd name="T6" fmla="*/ 1188 w 1304"/>
                <a:gd name="T7" fmla="*/ 231 h 231"/>
                <a:gd name="T8" fmla="*/ 0 w 1304"/>
                <a:gd name="T9" fmla="*/ 231 h 231"/>
                <a:gd name="T10" fmla="*/ 0 w 1304"/>
                <a:gd name="T11" fmla="*/ 0 h 231"/>
                <a:gd name="T12" fmla="*/ 0 w 1304"/>
                <a:gd name="T13" fmla="*/ 0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1">
                  <a:moveTo>
                    <a:pt x="0" y="0"/>
                  </a:moveTo>
                  <a:lnTo>
                    <a:pt x="1188" y="0"/>
                  </a:lnTo>
                  <a:lnTo>
                    <a:pt x="1304" y="115"/>
                  </a:lnTo>
                  <a:lnTo>
                    <a:pt x="1188" y="231"/>
                  </a:lnTo>
                  <a:lnTo>
                    <a:pt x="0" y="23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   </a:t>
              </a:r>
              <a:r>
                <a:rPr lang="lt-LT" sz="1600" b="1" dirty="0">
                  <a:solidFill>
                    <a:prstClr val="black"/>
                  </a:solidFill>
                  <a:latin typeface="Calibri"/>
                </a:rPr>
                <a:t>~</a:t>
              </a: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170 foreign degree students</a:t>
              </a:r>
            </a:p>
          </p:txBody>
        </p:sp>
        <p:sp>
          <p:nvSpPr>
            <p:cNvPr id="235" name="Freeform 28"/>
            <p:cNvSpPr>
              <a:spLocks/>
            </p:cNvSpPr>
            <p:nvPr/>
          </p:nvSpPr>
          <p:spPr bwMode="auto">
            <a:xfrm flipH="1">
              <a:off x="3054981" y="2282118"/>
              <a:ext cx="1412244" cy="532439"/>
            </a:xfrm>
            <a:custGeom>
              <a:avLst/>
              <a:gdLst>
                <a:gd name="T0" fmla="*/ 1005 w 1005"/>
                <a:gd name="T1" fmla="*/ 0 h 234"/>
                <a:gd name="T2" fmla="*/ 0 w 1005"/>
                <a:gd name="T3" fmla="*/ 155 h 234"/>
                <a:gd name="T4" fmla="*/ 0 w 1005"/>
                <a:gd name="T5" fmla="*/ 234 h 234"/>
                <a:gd name="T6" fmla="*/ 1005 w 1005"/>
                <a:gd name="T7" fmla="*/ 231 h 234"/>
                <a:gd name="T8" fmla="*/ 1005 w 1005"/>
                <a:gd name="T9" fmla="*/ 0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4">
                  <a:moveTo>
                    <a:pt x="1005" y="0"/>
                  </a:moveTo>
                  <a:lnTo>
                    <a:pt x="0" y="155"/>
                  </a:lnTo>
                  <a:lnTo>
                    <a:pt x="0" y="234"/>
                  </a:lnTo>
                  <a:lnTo>
                    <a:pt x="1005" y="231"/>
                  </a:lnTo>
                  <a:lnTo>
                    <a:pt x="1005" y="0"/>
                  </a:lnTo>
                  <a:close/>
                </a:path>
              </a:pathLst>
            </a:custGeom>
            <a:solidFill>
              <a:schemeClr val="accent3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85F4340-DEFE-4BB7-A459-84B85F783D23}"/>
              </a:ext>
            </a:extLst>
          </p:cNvPr>
          <p:cNvGrpSpPr/>
          <p:nvPr/>
        </p:nvGrpSpPr>
        <p:grpSpPr>
          <a:xfrm>
            <a:off x="409056" y="3058025"/>
            <a:ext cx="4058171" cy="914703"/>
            <a:chOff x="409054" y="3058024"/>
            <a:chExt cx="4058171" cy="914703"/>
          </a:xfrm>
        </p:grpSpPr>
        <p:sp>
          <p:nvSpPr>
            <p:cNvPr id="229" name="Freeform 30"/>
            <p:cNvSpPr>
              <a:spLocks/>
            </p:cNvSpPr>
            <p:nvPr/>
          </p:nvSpPr>
          <p:spPr bwMode="auto">
            <a:xfrm flipH="1">
              <a:off x="409054" y="3449389"/>
              <a:ext cx="2645927" cy="523338"/>
            </a:xfrm>
            <a:custGeom>
              <a:avLst/>
              <a:gdLst>
                <a:gd name="T0" fmla="*/ 0 w 1304"/>
                <a:gd name="T1" fmla="*/ 230 h 230"/>
                <a:gd name="T2" fmla="*/ 1188 w 1304"/>
                <a:gd name="T3" fmla="*/ 230 h 230"/>
                <a:gd name="T4" fmla="*/ 1304 w 1304"/>
                <a:gd name="T5" fmla="*/ 115 h 230"/>
                <a:gd name="T6" fmla="*/ 1188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8" y="230"/>
                  </a:lnTo>
                  <a:lnTo>
                    <a:pt x="1304" y="115"/>
                  </a:lnTo>
                  <a:lnTo>
                    <a:pt x="1188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indent="130969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~ 30 international projects</a:t>
              </a:r>
            </a:p>
          </p:txBody>
        </p:sp>
        <p:sp>
          <p:nvSpPr>
            <p:cNvPr id="236" name="Freeform 32"/>
            <p:cNvSpPr>
              <a:spLocks/>
            </p:cNvSpPr>
            <p:nvPr/>
          </p:nvSpPr>
          <p:spPr bwMode="auto">
            <a:xfrm flipH="1">
              <a:off x="3054981" y="3058024"/>
              <a:ext cx="1412244" cy="914703"/>
            </a:xfrm>
            <a:custGeom>
              <a:avLst/>
              <a:gdLst>
                <a:gd name="T0" fmla="*/ 0 w 1005"/>
                <a:gd name="T1" fmla="*/ 0 h 402"/>
                <a:gd name="T2" fmla="*/ 1005 w 1005"/>
                <a:gd name="T3" fmla="*/ 172 h 402"/>
                <a:gd name="T4" fmla="*/ 1005 w 1005"/>
                <a:gd name="T5" fmla="*/ 402 h 402"/>
                <a:gd name="T6" fmla="*/ 0 w 1005"/>
                <a:gd name="T7" fmla="*/ 61 h 402"/>
                <a:gd name="T8" fmla="*/ 0 w 1005"/>
                <a:gd name="T9" fmla="*/ 0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402">
                  <a:moveTo>
                    <a:pt x="0" y="0"/>
                  </a:moveTo>
                  <a:lnTo>
                    <a:pt x="1005" y="172"/>
                  </a:lnTo>
                  <a:lnTo>
                    <a:pt x="1005" y="402"/>
                  </a:ln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  <p:sp>
          <p:nvSpPr>
            <p:cNvPr id="237" name="Freeform 33"/>
            <p:cNvSpPr>
              <a:spLocks/>
            </p:cNvSpPr>
            <p:nvPr/>
          </p:nvSpPr>
          <p:spPr bwMode="auto">
            <a:xfrm flipH="1">
              <a:off x="3054981" y="3058024"/>
              <a:ext cx="1412244" cy="914703"/>
            </a:xfrm>
            <a:custGeom>
              <a:avLst/>
              <a:gdLst>
                <a:gd name="T0" fmla="*/ 0 w 1005"/>
                <a:gd name="T1" fmla="*/ 0 h 402"/>
                <a:gd name="T2" fmla="*/ 1005 w 1005"/>
                <a:gd name="T3" fmla="*/ 172 h 402"/>
                <a:gd name="T4" fmla="*/ 1005 w 1005"/>
                <a:gd name="T5" fmla="*/ 402 h 402"/>
                <a:gd name="T6" fmla="*/ 0 w 1005"/>
                <a:gd name="T7" fmla="*/ 61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05" h="402">
                  <a:moveTo>
                    <a:pt x="0" y="0"/>
                  </a:moveTo>
                  <a:lnTo>
                    <a:pt x="1005" y="172"/>
                  </a:lnTo>
                  <a:lnTo>
                    <a:pt x="1005" y="402"/>
                  </a:lnTo>
                  <a:lnTo>
                    <a:pt x="0" y="61"/>
                  </a:lnTo>
                </a:path>
              </a:pathLst>
            </a:custGeom>
            <a:solidFill>
              <a:srgbClr val="C00000">
                <a:alpha val="80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311D32-BAEE-443E-875D-60189B16C596}"/>
              </a:ext>
            </a:extLst>
          </p:cNvPr>
          <p:cNvGrpSpPr/>
          <p:nvPr/>
        </p:nvGrpSpPr>
        <p:grpSpPr>
          <a:xfrm>
            <a:off x="409055" y="3226402"/>
            <a:ext cx="4058172" cy="1326548"/>
            <a:chOff x="409053" y="3226402"/>
            <a:chExt cx="4058172" cy="1326548"/>
          </a:xfrm>
        </p:grpSpPr>
        <p:sp>
          <p:nvSpPr>
            <p:cNvPr id="228" name="Freeform 29"/>
            <p:cNvSpPr>
              <a:spLocks/>
            </p:cNvSpPr>
            <p:nvPr/>
          </p:nvSpPr>
          <p:spPr bwMode="auto">
            <a:xfrm flipH="1">
              <a:off x="409053" y="4029611"/>
              <a:ext cx="2645927" cy="523338"/>
            </a:xfrm>
            <a:custGeom>
              <a:avLst/>
              <a:gdLst>
                <a:gd name="T0" fmla="*/ 0 w 1304"/>
                <a:gd name="T1" fmla="*/ 230 h 230"/>
                <a:gd name="T2" fmla="*/ 1189 w 1304"/>
                <a:gd name="T3" fmla="*/ 230 h 230"/>
                <a:gd name="T4" fmla="*/ 1304 w 1304"/>
                <a:gd name="T5" fmla="*/ 115 h 230"/>
                <a:gd name="T6" fmla="*/ 1189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9" y="230"/>
                  </a:lnTo>
                  <a:lnTo>
                    <a:pt x="1304" y="115"/>
                  </a:lnTo>
                  <a:lnTo>
                    <a:pt x="1189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539354" indent="-408385"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 79% average employability of graduates</a:t>
              </a:r>
              <a:endParaRPr lang="en-US" sz="1600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238" name="Freeform 34"/>
            <p:cNvSpPr>
              <a:spLocks/>
            </p:cNvSpPr>
            <p:nvPr/>
          </p:nvSpPr>
          <p:spPr bwMode="auto">
            <a:xfrm flipH="1">
              <a:off x="3054981" y="3226402"/>
              <a:ext cx="1412244" cy="1326548"/>
            </a:xfrm>
            <a:custGeom>
              <a:avLst/>
              <a:gdLst>
                <a:gd name="T0" fmla="*/ 1005 w 1005"/>
                <a:gd name="T1" fmla="*/ 583 h 583"/>
                <a:gd name="T2" fmla="*/ 0 w 1005"/>
                <a:gd name="T3" fmla="*/ 76 h 583"/>
                <a:gd name="T4" fmla="*/ 0 w 1005"/>
                <a:gd name="T5" fmla="*/ 0 h 583"/>
                <a:gd name="T6" fmla="*/ 1005 w 1005"/>
                <a:gd name="T7" fmla="*/ 353 h 583"/>
                <a:gd name="T8" fmla="*/ 1005 w 1005"/>
                <a:gd name="T9" fmla="*/ 583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583">
                  <a:moveTo>
                    <a:pt x="1005" y="583"/>
                  </a:moveTo>
                  <a:lnTo>
                    <a:pt x="0" y="76"/>
                  </a:lnTo>
                  <a:lnTo>
                    <a:pt x="0" y="0"/>
                  </a:lnTo>
                  <a:lnTo>
                    <a:pt x="1005" y="353"/>
                  </a:lnTo>
                  <a:lnTo>
                    <a:pt x="1005" y="583"/>
                  </a:lnTo>
                  <a:close/>
                </a:path>
              </a:pathLst>
            </a:custGeom>
            <a:solidFill>
              <a:schemeClr val="accent6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6DEF30B-8438-45A4-8DC1-79456088FF8D}"/>
              </a:ext>
            </a:extLst>
          </p:cNvPr>
          <p:cNvGrpSpPr/>
          <p:nvPr/>
        </p:nvGrpSpPr>
        <p:grpSpPr>
          <a:xfrm>
            <a:off x="409056" y="2855516"/>
            <a:ext cx="4058171" cy="536991"/>
            <a:chOff x="409054" y="2855514"/>
            <a:chExt cx="4058171" cy="536991"/>
          </a:xfrm>
        </p:grpSpPr>
        <p:sp>
          <p:nvSpPr>
            <p:cNvPr id="230" name="Freeform 31"/>
            <p:cNvSpPr>
              <a:spLocks/>
            </p:cNvSpPr>
            <p:nvPr/>
          </p:nvSpPr>
          <p:spPr bwMode="auto">
            <a:xfrm flipH="1">
              <a:off x="409054" y="2869167"/>
              <a:ext cx="2645927" cy="523338"/>
            </a:xfrm>
            <a:custGeom>
              <a:avLst/>
              <a:gdLst>
                <a:gd name="T0" fmla="*/ 0 w 1304"/>
                <a:gd name="T1" fmla="*/ 230 h 230"/>
                <a:gd name="T2" fmla="*/ 1188 w 1304"/>
                <a:gd name="T3" fmla="*/ 230 h 230"/>
                <a:gd name="T4" fmla="*/ 1304 w 1304"/>
                <a:gd name="T5" fmla="*/ 115 h 230"/>
                <a:gd name="T6" fmla="*/ 1188 w 1304"/>
                <a:gd name="T7" fmla="*/ 0 h 230"/>
                <a:gd name="T8" fmla="*/ 0 w 1304"/>
                <a:gd name="T9" fmla="*/ 0 h 230"/>
                <a:gd name="T10" fmla="*/ 0 w 1304"/>
                <a:gd name="T11" fmla="*/ 230 h 230"/>
                <a:gd name="T12" fmla="*/ 0 w 1304"/>
                <a:gd name="T13" fmla="*/ 23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04" h="230">
                  <a:moveTo>
                    <a:pt x="0" y="230"/>
                  </a:moveTo>
                  <a:lnTo>
                    <a:pt x="1188" y="230"/>
                  </a:lnTo>
                  <a:lnTo>
                    <a:pt x="1304" y="115"/>
                  </a:lnTo>
                  <a:lnTo>
                    <a:pt x="1188" y="0"/>
                  </a:lnTo>
                  <a:lnTo>
                    <a:pt x="0" y="0"/>
                  </a:lnTo>
                  <a:lnTo>
                    <a:pt x="0" y="230"/>
                  </a:lnTo>
                  <a:lnTo>
                    <a:pt x="0" y="230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indent="130969" defTabSz="914378">
                <a:defRPr/>
              </a:pPr>
              <a:r>
                <a:rPr lang="en-US" sz="1600" b="1" dirty="0">
                  <a:solidFill>
                    <a:prstClr val="black"/>
                  </a:solidFill>
                  <a:latin typeface="Calibri"/>
                </a:rPr>
                <a:t>~70 exchange students</a:t>
              </a:r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 flipH="1">
              <a:off x="3054981" y="2855514"/>
              <a:ext cx="1412244" cy="536990"/>
            </a:xfrm>
            <a:custGeom>
              <a:avLst/>
              <a:gdLst>
                <a:gd name="T0" fmla="*/ 1005 w 1005"/>
                <a:gd name="T1" fmla="*/ 236 h 236"/>
                <a:gd name="T2" fmla="*/ 0 w 1005"/>
                <a:gd name="T3" fmla="*/ 79 h 236"/>
                <a:gd name="T4" fmla="*/ 0 w 1005"/>
                <a:gd name="T5" fmla="*/ 0 h 236"/>
                <a:gd name="T6" fmla="*/ 1005 w 1005"/>
                <a:gd name="T7" fmla="*/ 6 h 236"/>
                <a:gd name="T8" fmla="*/ 1005 w 1005"/>
                <a:gd name="T9" fmla="*/ 236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5" h="236">
                  <a:moveTo>
                    <a:pt x="1005" y="236"/>
                  </a:moveTo>
                  <a:lnTo>
                    <a:pt x="0" y="79"/>
                  </a:lnTo>
                  <a:lnTo>
                    <a:pt x="0" y="0"/>
                  </a:lnTo>
                  <a:lnTo>
                    <a:pt x="1005" y="6"/>
                  </a:lnTo>
                  <a:lnTo>
                    <a:pt x="1005" y="236"/>
                  </a:lnTo>
                  <a:close/>
                </a:path>
              </a:pathLst>
            </a:custGeom>
            <a:solidFill>
              <a:schemeClr val="accent4">
                <a:alpha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algn="ctr" defTabSz="914378">
                <a:defRPr/>
              </a:pPr>
              <a:endParaRPr lang="en-US" sz="1100" dirty="0">
                <a:solidFill>
                  <a:prstClr val="white"/>
                </a:solidFill>
                <a:latin typeface="Century Gothic"/>
                <a:cs typeface="Century Gothic"/>
              </a:endParaRP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29CED0FB-E8B2-4765-8E8F-62CE7D6E550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7011" y="1835322"/>
            <a:ext cx="1941094" cy="1941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46739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wrap="square" rtlCol="0">
        <a:spAutoFit/>
      </a:bodyPr>
      <a:lstStyle>
        <a:defPPr algn="l">
          <a:defRPr dirty="0" smtClean="0"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discriminatio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iscrimination</Template>
  <TotalTime>715</TotalTime>
  <Words>696</Words>
  <Application>Microsoft Office PowerPoint</Application>
  <PresentationFormat>Demonstracija ekrane (16:9)</PresentationFormat>
  <Paragraphs>149</Paragraphs>
  <Slides>15</Slides>
  <Notes>5</Notes>
  <HiddenSlides>0</HiddenSlides>
  <MMClips>0</MMClips>
  <ScaleCrop>false</ScaleCrop>
  <HeadingPairs>
    <vt:vector size="8" baseType="variant">
      <vt:variant>
        <vt:lpstr>Naudojami šriftai</vt:lpstr>
      </vt:variant>
      <vt:variant>
        <vt:i4>13</vt:i4>
      </vt:variant>
      <vt:variant>
        <vt:lpstr>Tema</vt:lpstr>
      </vt:variant>
      <vt:variant>
        <vt:i4>6</vt:i4>
      </vt:variant>
      <vt:variant>
        <vt:lpstr>Įdėtosios OLE paslaugos</vt:lpstr>
      </vt:variant>
      <vt:variant>
        <vt:i4>1</vt:i4>
      </vt:variant>
      <vt:variant>
        <vt:lpstr>Skaidrių pavadinimai</vt:lpstr>
      </vt:variant>
      <vt:variant>
        <vt:i4>15</vt:i4>
      </vt:variant>
    </vt:vector>
  </HeadingPairs>
  <TitlesOfParts>
    <vt:vector size="35" baseType="lpstr">
      <vt:lpstr>Arial</vt:lpstr>
      <vt:lpstr>Bebas Neue</vt:lpstr>
      <vt:lpstr>Calibri</vt:lpstr>
      <vt:lpstr>Calibri Light</vt:lpstr>
      <vt:lpstr>Century Gothic</vt:lpstr>
      <vt:lpstr>DIN Pro Regular</vt:lpstr>
      <vt:lpstr>Gill Sans</vt:lpstr>
      <vt:lpstr>Helvetica Neue</vt:lpstr>
      <vt:lpstr>Myanmar Text</vt:lpstr>
      <vt:lpstr>Myriad Pro</vt:lpstr>
      <vt:lpstr>Monaco</vt:lpstr>
      <vt:lpstr>Nexa Bold</vt:lpstr>
      <vt:lpstr>Wingdings</vt:lpstr>
      <vt:lpstr>Office Theme</vt:lpstr>
      <vt:lpstr>2_discrimination</vt:lpstr>
      <vt:lpstr>1_discrimination</vt:lpstr>
      <vt:lpstr>Thème Office</vt:lpstr>
      <vt:lpstr>3_discrimination</vt:lpstr>
      <vt:lpstr>4_discrimination</vt:lpstr>
      <vt:lpstr>think-cell Slide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„PowerPoint“ pateiktis</vt:lpstr>
      <vt:lpstr>Who we are?</vt:lpstr>
      <vt:lpstr>„PowerPoint“ pateiktis</vt:lpstr>
      <vt:lpstr>„PowerPoint“ pateiktis</vt:lpstr>
      <vt:lpstr>„PowerPoint“ pateiktis</vt:lpstr>
      <vt:lpstr>Scholarships and price</vt:lpstr>
      <vt:lpstr>„PowerPoint“ pateiktis</vt:lpstr>
      <vt:lpstr>„PowerPoint“ pateikti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ministrator</dc:creator>
  <cp:lastModifiedBy>Virginijus Bitė</cp:lastModifiedBy>
  <cp:revision>288</cp:revision>
  <dcterms:created xsi:type="dcterms:W3CDTF">2015-07-13T05:50:57Z</dcterms:created>
  <dcterms:modified xsi:type="dcterms:W3CDTF">2023-07-18T07:37:54Z</dcterms:modified>
</cp:coreProperties>
</file>